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1"/>
  </p:sldMasterIdLst>
  <p:notesMasterIdLst>
    <p:notesMasterId r:id="rId90"/>
  </p:notesMasterIdLst>
  <p:handoutMasterIdLst>
    <p:handoutMasterId r:id="rId91"/>
  </p:handoutMasterIdLst>
  <p:sldIdLst>
    <p:sldId id="257" r:id="rId2"/>
    <p:sldId id="369" r:id="rId3"/>
    <p:sldId id="396" r:id="rId4"/>
    <p:sldId id="349" r:id="rId5"/>
    <p:sldId id="350" r:id="rId6"/>
    <p:sldId id="378" r:id="rId7"/>
    <p:sldId id="361" r:id="rId8"/>
    <p:sldId id="362" r:id="rId9"/>
    <p:sldId id="379" r:id="rId10"/>
    <p:sldId id="363" r:id="rId11"/>
    <p:sldId id="364" r:id="rId12"/>
    <p:sldId id="380" r:id="rId13"/>
    <p:sldId id="377" r:id="rId14"/>
    <p:sldId id="420" r:id="rId15"/>
    <p:sldId id="397" r:id="rId16"/>
    <p:sldId id="365" r:id="rId17"/>
    <p:sldId id="366" r:id="rId18"/>
    <p:sldId id="381" r:id="rId19"/>
    <p:sldId id="367" r:id="rId20"/>
    <p:sldId id="368" r:id="rId21"/>
    <p:sldId id="382" r:id="rId22"/>
    <p:sldId id="402" r:id="rId23"/>
    <p:sldId id="403" r:id="rId24"/>
    <p:sldId id="404" r:id="rId25"/>
    <p:sldId id="405" r:id="rId26"/>
    <p:sldId id="406" r:id="rId27"/>
    <p:sldId id="407" r:id="rId28"/>
    <p:sldId id="331" r:id="rId29"/>
    <p:sldId id="398" r:id="rId30"/>
    <p:sldId id="393" r:id="rId31"/>
    <p:sldId id="394" r:id="rId32"/>
    <p:sldId id="395" r:id="rId33"/>
    <p:sldId id="336" r:id="rId34"/>
    <p:sldId id="334" r:id="rId35"/>
    <p:sldId id="384" r:id="rId36"/>
    <p:sldId id="337" r:id="rId37"/>
    <p:sldId id="370" r:id="rId38"/>
    <p:sldId id="385" r:id="rId39"/>
    <p:sldId id="376" r:id="rId40"/>
    <p:sldId id="421" r:id="rId41"/>
    <p:sldId id="399" r:id="rId42"/>
    <p:sldId id="338" r:id="rId43"/>
    <p:sldId id="340" r:id="rId44"/>
    <p:sldId id="386" r:id="rId45"/>
    <p:sldId id="341" r:id="rId46"/>
    <p:sldId id="339" r:id="rId47"/>
    <p:sldId id="387" r:id="rId48"/>
    <p:sldId id="408" r:id="rId49"/>
    <p:sldId id="409" r:id="rId50"/>
    <p:sldId id="410" r:id="rId51"/>
    <p:sldId id="411" r:id="rId52"/>
    <p:sldId id="412" r:id="rId53"/>
    <p:sldId id="413" r:id="rId54"/>
    <p:sldId id="375" r:id="rId55"/>
    <p:sldId id="422" r:id="rId56"/>
    <p:sldId id="400" r:id="rId57"/>
    <p:sldId id="343" r:id="rId58"/>
    <p:sldId id="342" r:id="rId59"/>
    <p:sldId id="388" r:id="rId60"/>
    <p:sldId id="344" r:id="rId61"/>
    <p:sldId id="345" r:id="rId62"/>
    <p:sldId id="389" r:id="rId63"/>
    <p:sldId id="414" r:id="rId64"/>
    <p:sldId id="415" r:id="rId65"/>
    <p:sldId id="416" r:id="rId66"/>
    <p:sldId id="417" r:id="rId67"/>
    <p:sldId id="418" r:id="rId68"/>
    <p:sldId id="419" r:id="rId69"/>
    <p:sldId id="374" r:id="rId70"/>
    <p:sldId id="401" r:id="rId71"/>
    <p:sldId id="346" r:id="rId72"/>
    <p:sldId id="347" r:id="rId73"/>
    <p:sldId id="390" r:id="rId74"/>
    <p:sldId id="333" r:id="rId75"/>
    <p:sldId id="371" r:id="rId76"/>
    <p:sldId id="391" r:id="rId77"/>
    <p:sldId id="372" r:id="rId78"/>
    <p:sldId id="373" r:id="rId79"/>
    <p:sldId id="392" r:id="rId80"/>
    <p:sldId id="451" r:id="rId81"/>
    <p:sldId id="458" r:id="rId82"/>
    <p:sldId id="443" r:id="rId83"/>
    <p:sldId id="452" r:id="rId84"/>
    <p:sldId id="456" r:id="rId85"/>
    <p:sldId id="447" r:id="rId86"/>
    <p:sldId id="453" r:id="rId87"/>
    <p:sldId id="457" r:id="rId88"/>
    <p:sldId id="423" r:id="rId89"/>
  </p:sldIdLst>
  <p:sldSz cx="12192000" cy="6858000"/>
  <p:notesSz cx="6858000" cy="9144000"/>
  <p:custDataLst>
    <p:tags r:id="rId9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36E2E80B-9B50-4AB0-891A-019E892DF3A5}">
          <p14:sldIdLst>
            <p14:sldId id="257"/>
          </p14:sldIdLst>
        </p14:section>
        <p14:section name="Single Para Test" id="{FB9D6B72-E7B5-417E-B6D6-F609CB20F811}">
          <p14:sldIdLst>
            <p14:sldId id="369"/>
            <p14:sldId id="396"/>
            <p14:sldId id="349"/>
            <p14:sldId id="350"/>
            <p14:sldId id="378"/>
            <p14:sldId id="361"/>
            <p14:sldId id="362"/>
            <p14:sldId id="379"/>
            <p14:sldId id="363"/>
            <p14:sldId id="364"/>
            <p14:sldId id="380"/>
            <p14:sldId id="377"/>
            <p14:sldId id="420"/>
            <p14:sldId id="397"/>
            <p14:sldId id="365"/>
            <p14:sldId id="366"/>
            <p14:sldId id="381"/>
            <p14:sldId id="367"/>
            <p14:sldId id="368"/>
            <p14:sldId id="382"/>
            <p14:sldId id="402"/>
            <p14:sldId id="403"/>
            <p14:sldId id="404"/>
            <p14:sldId id="405"/>
            <p14:sldId id="406"/>
            <p14:sldId id="407"/>
            <p14:sldId id="331"/>
            <p14:sldId id="398"/>
            <p14:sldId id="393"/>
            <p14:sldId id="394"/>
            <p14:sldId id="395"/>
            <p14:sldId id="336"/>
            <p14:sldId id="334"/>
            <p14:sldId id="384"/>
            <p14:sldId id="337"/>
            <p14:sldId id="370"/>
            <p14:sldId id="385"/>
            <p14:sldId id="376"/>
            <p14:sldId id="421"/>
            <p14:sldId id="399"/>
            <p14:sldId id="338"/>
            <p14:sldId id="340"/>
            <p14:sldId id="386"/>
            <p14:sldId id="341"/>
            <p14:sldId id="339"/>
            <p14:sldId id="387"/>
            <p14:sldId id="408"/>
            <p14:sldId id="409"/>
            <p14:sldId id="410"/>
            <p14:sldId id="411"/>
            <p14:sldId id="412"/>
            <p14:sldId id="413"/>
            <p14:sldId id="375"/>
            <p14:sldId id="422"/>
            <p14:sldId id="400"/>
            <p14:sldId id="343"/>
            <p14:sldId id="342"/>
            <p14:sldId id="388"/>
            <p14:sldId id="344"/>
            <p14:sldId id="345"/>
            <p14:sldId id="389"/>
            <p14:sldId id="414"/>
            <p14:sldId id="415"/>
            <p14:sldId id="416"/>
            <p14:sldId id="417"/>
            <p14:sldId id="418"/>
            <p14:sldId id="419"/>
          </p14:sldIdLst>
        </p14:section>
        <p14:section name="Combine Para Test" id="{2B0050E8-596D-42E7-9E62-5DFF938A0A59}">
          <p14:sldIdLst>
            <p14:sldId id="374"/>
            <p14:sldId id="401"/>
            <p14:sldId id="346"/>
            <p14:sldId id="347"/>
            <p14:sldId id="390"/>
            <p14:sldId id="333"/>
            <p14:sldId id="371"/>
            <p14:sldId id="391"/>
            <p14:sldId id="372"/>
            <p14:sldId id="373"/>
            <p14:sldId id="392"/>
          </p14:sldIdLst>
        </p14:section>
        <p14:section name="OTA Test" id="{25EEE0C5-5E34-43AA-8C43-235DC41F6AB8}">
          <p14:sldIdLst>
            <p14:sldId id="451"/>
            <p14:sldId id="458"/>
            <p14:sldId id="443"/>
            <p14:sldId id="452"/>
            <p14:sldId id="456"/>
            <p14:sldId id="447"/>
            <p14:sldId id="453"/>
            <p14:sldId id="457"/>
          </p14:sldIdLst>
        </p14:section>
        <p14:section name="B2 Chamber S21" id="{13D1303D-C067-43B0-8E8F-515EAE4FEA0D}">
          <p14:sldIdLst>
            <p14:sldId id="42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B300"/>
    <a:srgbClr val="EEEEEE"/>
    <a:srgbClr val="F7F7F7"/>
    <a:srgbClr val="F4F4F4"/>
    <a:srgbClr val="FAFAFA"/>
    <a:srgbClr val="D964C7"/>
    <a:srgbClr val="A4A1A9"/>
    <a:srgbClr val="660B0B"/>
    <a:srgbClr val="D91F1F"/>
    <a:srgbClr val="2310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38" autoAdjust="0"/>
    <p:restoredTop sz="94061" autoAdjust="0"/>
  </p:normalViewPr>
  <p:slideViewPr>
    <p:cSldViewPr snapToGrid="0">
      <p:cViewPr varScale="1">
        <p:scale>
          <a:sx n="68" d="100"/>
          <a:sy n="68" d="100"/>
        </p:scale>
        <p:origin x="634" y="41"/>
      </p:cViewPr>
      <p:guideLst/>
    </p:cSldViewPr>
  </p:slideViewPr>
  <p:outlineViewPr>
    <p:cViewPr>
      <p:scale>
        <a:sx n="33" d="100"/>
        <a:sy n="33" d="100"/>
      </p:scale>
      <p:origin x="0" y="-1536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0" d="100"/>
          <a:sy n="70" d="100"/>
        </p:scale>
        <p:origin x="2700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notesMaster" Target="notesMasters/notesMaster1.xml"/><Relationship Id="rId95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handoutMaster" Target="handoutMasters/handoutMaster1.xml"/><Relationship Id="rId9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32AE93-04B0-4B14-9BA9-5A4E1E888D4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36576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l">
              <a:defRPr sz="1200"/>
            </a:lvl1pPr>
          </a:lstStyle>
          <a:p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© 2017 Keysight Technologies and/or its affiliates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E6FEEE-424C-49DA-AAE0-6FD6D9B0551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943600" y="8685213"/>
            <a:ext cx="9144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r">
              <a:defRPr sz="1200"/>
            </a:lvl1pPr>
          </a:lstStyle>
          <a:p>
            <a:fld id="{836D5859-1D5A-48C7-BA8C-83EF8FC1CBCA}" type="slidenum">
              <a:rPr lang="en-US" sz="8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‹#›</a:t>
            </a:fld>
            <a:endParaRPr lang="en-US" sz="8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746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1650" y="914400"/>
            <a:ext cx="5854700" cy="3294063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14353" y="4400549"/>
            <a:ext cx="5829301" cy="360045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685213"/>
            <a:ext cx="3657600" cy="458787"/>
          </a:xfrm>
          <a:prstGeom prst="rect">
            <a:avLst/>
          </a:prstGeom>
        </p:spPr>
        <p:txBody>
          <a:bodyPr vert="horz" wrap="square" lIns="182880" tIns="182880" rIns="182880" bIns="182880" rtlCol="0" anchor="b">
            <a:noAutofit/>
          </a:bodyPr>
          <a:lstStyle>
            <a:lvl1pPr>
              <a:defRPr 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© 2017 Keysight Technologies and/or its affiliates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943600" y="8685213"/>
            <a:ext cx="9144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8FDEE44-2F84-48D1-BBF6-82E16595D1F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182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Bef>
        <a:spcPts val="400"/>
      </a:spcBef>
      <a:buFont typeface="Arial" panose="020B0604020202020204" pitchFamily="34" charset="0"/>
      <a:buChar char="​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27432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1148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54864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4103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259E29B8-69B3-4461-B37F-0DBB9DC0476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7C7E9E7-7333-4EF5-9FC3-4CEF923EA801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40" name="Logo">
            <a:extLst>
              <a:ext uri="{FF2B5EF4-FFF2-40B4-BE49-F238E27FC236}">
                <a16:creationId xmlns:a16="http://schemas.microsoft.com/office/drawing/2014/main" id="{D2A95714-9F6E-48DD-9ED6-94BDDECF0F49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60" name="Freeform 5">
              <a:extLst>
                <a:ext uri="{FF2B5EF4-FFF2-40B4-BE49-F238E27FC236}">
                  <a16:creationId xmlns:a16="http://schemas.microsoft.com/office/drawing/2014/main" id="{39598F92-4036-449A-A381-281AC133F93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6A04830E-5424-4362-9CD6-60CBCC39C20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Ruler">
            <a:extLst>
              <a:ext uri="{FF2B5EF4-FFF2-40B4-BE49-F238E27FC236}">
                <a16:creationId xmlns:a16="http://schemas.microsoft.com/office/drawing/2014/main" id="{DBE24C15-4489-4BF7-A20E-4FEB0A1A6671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BDB098C-E5AE-4364-A913-1C8D462BF9B3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9A6D359-A1D3-413C-8281-5A2E7EEE320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5A7D9A44-D64C-4D5A-B183-958220A4996C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34F8A2C-8776-4D1A-93D7-4590C0622121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91CB2CF-6B6F-48D5-8365-33EC34BA80A0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458D058-1610-4C89-9349-E009140E28F5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35743F61-B1FA-44F3-81EC-3FF4A1864B3B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46A99D48-7BDC-4896-BBA2-67770AABD231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3B3F7266-53C6-4879-8513-A4486B8FC303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465021D-7CFB-4445-8798-684D88150AE5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1F2AFDE6-7C63-49EA-B242-2927A8B9902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D252C539-DDC5-412A-AD14-69BA4ED96AF5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A6D93BA2-F008-40E1-825E-6CF327EC92DA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D2E7C4B-6367-42C3-B536-906DE4FD552D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6A78576E-5C4A-48E5-B281-76308E82DB77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1B39927-09E1-467A-8149-FE7A19A30F66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DC32B564-C1C7-4C1A-8066-81D90765D42D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31267B10-9154-4C28-9140-3AF5C2021E44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290F9B9-A40C-41F9-B489-C1D87E71C101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Speaker Name">
            <a:extLst>
              <a:ext uri="{FF2B5EF4-FFF2-40B4-BE49-F238E27FC236}">
                <a16:creationId xmlns:a16="http://schemas.microsoft.com/office/drawing/2014/main" id="{88104DA9-6CD2-4C4F-A6AE-C5D0CD6E0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Name</a:t>
            </a:r>
          </a:p>
        </p:txBody>
      </p:sp>
      <p:sp>
        <p:nvSpPr>
          <p:cNvPr id="37" name="Text Placeholder 128">
            <a:extLst>
              <a:ext uri="{FF2B5EF4-FFF2-40B4-BE49-F238E27FC236}">
                <a16:creationId xmlns:a16="http://schemas.microsoft.com/office/drawing/2014/main" id="{69D5EB8D-3B85-4059-8F34-4BFB6D0DED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 dirty="0"/>
              <a:t>YYYY.MM.DD</a:t>
            </a:r>
          </a:p>
        </p:txBody>
      </p:sp>
      <p:sp>
        <p:nvSpPr>
          <p:cNvPr id="38" name="Speaker Title">
            <a:extLst>
              <a:ext uri="{FF2B5EF4-FFF2-40B4-BE49-F238E27FC236}">
                <a16:creationId xmlns:a16="http://schemas.microsoft.com/office/drawing/2014/main" id="{0D9078F8-E937-4EF3-AC9B-A84856FA94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Title / Company Name</a:t>
            </a:r>
          </a:p>
        </p:txBody>
      </p:sp>
      <p:sp>
        <p:nvSpPr>
          <p:cNvPr id="31" name="Title">
            <a:extLst>
              <a:ext uri="{FF2B5EF4-FFF2-40B4-BE49-F238E27FC236}">
                <a16:creationId xmlns:a16="http://schemas.microsoft.com/office/drawing/2014/main" id="{7A92962A-B660-43F3-9C7C-C1CD756ED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1456875"/>
            <a:ext cx="9372600" cy="1336928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 dirty="0"/>
              <a:t>Title Slide Layou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FC49378-BFD9-43A8-8DB2-52BE426047C8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3878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04A056E-0A81-49A4-A1E8-EC8E2D83F6A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447"/>
            <a:ext cx="12192000" cy="6857107"/>
          </a:xfrm>
          <a:solidFill>
            <a:schemeClr val="bg1">
              <a:lumMod val="85000"/>
            </a:schemeClr>
          </a:solidFill>
        </p:spPr>
        <p:txBody>
          <a:bodyPr bIns="640080" anchor="ctr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below to insert a picture</a:t>
            </a:r>
          </a:p>
        </p:txBody>
      </p:sp>
    </p:spTree>
    <p:extLst>
      <p:ext uri="{BB962C8B-B14F-4D97-AF65-F5344CB8AC3E}">
        <p14:creationId xmlns:p14="http://schemas.microsoft.com/office/powerpoint/2010/main" val="42518026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Mosa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F06E54C9-A448-4577-8FFC-86B9235556E4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49261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750D041D-3D23-45A0-B825-F6942FB33899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49261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A34408D2-7305-44BD-88E2-4782253029F6}"/>
              </a:ext>
            </a:extLst>
          </p:cNvPr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449261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AE057395-5D60-4151-A3F4-BD3C26F517E0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2724005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82EC2578-E69B-48E7-9A0D-509C4DCB31EA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2724005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D0D4746-2A3C-4008-AE56-9C971679424A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2724005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FCA5D73-8894-4E23-A184-A54E0EC5A0EE}"/>
              </a:ext>
            </a:extLst>
          </p:cNvPr>
          <p:cNvSpPr>
            <a:spLocks noGrp="1" noChangeAspect="1"/>
          </p:cNvSpPr>
          <p:nvPr>
            <p:ph type="pic" sz="quarter" idx="34" hasCustomPrompt="1"/>
          </p:nvPr>
        </p:nvSpPr>
        <p:spPr>
          <a:xfrm>
            <a:off x="499874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6ACBD5C3-DCFC-4051-9545-03D3162522D6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499874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A66F51C-4B75-45D7-A374-BEBFC16F4525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499874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892A4E8F-9D23-4A3B-9CF3-6E98766A0FC3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7273493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7C4C030-205C-4BEE-910F-AE86E4049451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7273493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FC23546C-CAC0-4FD6-8C62-1F4F217EC83D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7273493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084AFB79-D26E-4F3D-8A40-6D479CF90DB0}"/>
              </a:ext>
            </a:extLst>
          </p:cNvPr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954823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897A7121-A588-46B7-AF5B-FDF684B00905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954823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89C5946B-4047-4FB3-AC49-D0F9A0F37808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954823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DC077E-289F-4AAE-B3F6-9B318C828A23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4F685A-9886-45FB-8B04-AB8597A67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Photo Mosaic Layout</a:t>
            </a:r>
          </a:p>
        </p:txBody>
      </p:sp>
    </p:spTree>
    <p:extLst>
      <p:ext uri="{BB962C8B-B14F-4D97-AF65-F5344CB8AC3E}">
        <p14:creationId xmlns:p14="http://schemas.microsoft.com/office/powerpoint/2010/main" val="23448118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CE3183E7-4A32-4F91-8AF8-C43C846072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76819" y="5140292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76819" y="4734027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2" name="Quote">
            <a:extLst>
              <a:ext uri="{FF2B5EF4-FFF2-40B4-BE49-F238E27FC236}">
                <a16:creationId xmlns:a16="http://schemas.microsoft.com/office/drawing/2014/main" id="{86824591-1B5F-489A-9593-4CEFC4B3EE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6819" y="1454532"/>
            <a:ext cx="8636427" cy="327949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lIns="182880" tIns="91440" rIns="182880" bIns="91440" rtlCol="0" anchor="t">
            <a:noAutofit/>
          </a:bodyPr>
          <a:lstStyle>
            <a:lvl1pPr>
              <a:lnSpc>
                <a:spcPct val="100000"/>
              </a:lnSpc>
              <a:defRPr lang="en-US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 dirty="0"/>
              <a:t>Quote layout.</a:t>
            </a:r>
          </a:p>
        </p:txBody>
      </p:sp>
      <p:grpSp>
        <p:nvGrpSpPr>
          <p:cNvPr id="22" name="Quote_Box">
            <a:extLst>
              <a:ext uri="{FF2B5EF4-FFF2-40B4-BE49-F238E27FC236}">
                <a16:creationId xmlns:a16="http://schemas.microsoft.com/office/drawing/2014/main" id="{16644DA2-FD5C-4132-871A-2F4CC3B9C32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7850" y="1454532"/>
            <a:ext cx="648005" cy="648005"/>
            <a:chOff x="1127850" y="1457847"/>
            <a:chExt cx="648005" cy="648005"/>
          </a:xfrm>
        </p:grpSpPr>
        <p:sp>
          <p:nvSpPr>
            <p:cNvPr id="23" name="Quote_Box">
              <a:extLst>
                <a:ext uri="{FF2B5EF4-FFF2-40B4-BE49-F238E27FC236}">
                  <a16:creationId xmlns:a16="http://schemas.microsoft.com/office/drawing/2014/main" id="{F8742923-446F-4F3E-A318-7D750E032EAE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24" name="Icon">
              <a:extLst>
                <a:ext uri="{FF2B5EF4-FFF2-40B4-BE49-F238E27FC236}">
                  <a16:creationId xmlns:a16="http://schemas.microsoft.com/office/drawing/2014/main" id="{64D02E25-A2AE-488C-8479-BFF4596F0CD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DB22BC-764C-491D-888B-64DE8D2F75F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3BF195AF-9651-4702-B588-B7C0FCFE2DB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7" name="Logo">
            <a:extLst>
              <a:ext uri="{FF2B5EF4-FFF2-40B4-BE49-F238E27FC236}">
                <a16:creationId xmlns:a16="http://schemas.microsoft.com/office/drawing/2014/main" id="{D793CBCB-9D3E-4FB2-9244-94F5FE9EB03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5CA6D27F-C163-4B78-8C9F-63F81E7A86B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2CF469B8-42CE-43E7-A089-ED56DA2D857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957913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0038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0038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00383" y="1630264"/>
            <a:ext cx="507306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wo quote layout.</a:t>
            </a:r>
          </a:p>
        </p:txBody>
      </p:sp>
      <p:grpSp>
        <p:nvGrpSpPr>
          <p:cNvPr id="106" name="Quote_Box">
            <a:extLst>
              <a:ext uri="{FF2B5EF4-FFF2-40B4-BE49-F238E27FC236}">
                <a16:creationId xmlns:a16="http://schemas.microsoft.com/office/drawing/2014/main" id="{ABCF5F15-1C99-4B5F-A62C-06821A1D013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300383" y="1115459"/>
            <a:ext cx="509542" cy="509542"/>
            <a:chOff x="1127850" y="1457847"/>
            <a:chExt cx="648005" cy="648005"/>
          </a:xfrm>
        </p:grpSpPr>
        <p:sp>
          <p:nvSpPr>
            <p:cNvPr id="107" name="Quote_Box">
              <a:extLst>
                <a:ext uri="{FF2B5EF4-FFF2-40B4-BE49-F238E27FC236}">
                  <a16:creationId xmlns:a16="http://schemas.microsoft.com/office/drawing/2014/main" id="{BBFBCDF7-264A-4503-9A4A-3935E8AFA29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108" name="Icon">
              <a:extLst>
                <a:ext uri="{FF2B5EF4-FFF2-40B4-BE49-F238E27FC236}">
                  <a16:creationId xmlns:a16="http://schemas.microsoft.com/office/drawing/2014/main" id="{D21F579F-48BF-483D-8137-FE8CA23EA9A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111" y="1630264"/>
            <a:ext cx="506985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wo quote layout.</a:t>
            </a:r>
          </a:p>
        </p:txBody>
      </p:sp>
      <p:grpSp>
        <p:nvGrpSpPr>
          <p:cNvPr id="7" name="Quote_Box">
            <a:extLst>
              <a:ext uri="{FF2B5EF4-FFF2-40B4-BE49-F238E27FC236}">
                <a16:creationId xmlns:a16="http://schemas.microsoft.com/office/drawing/2014/main" id="{9668343F-8517-4F28-87DB-A2A07E8FB7E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7112" y="1115459"/>
            <a:ext cx="509542" cy="509542"/>
            <a:chOff x="1127850" y="1457847"/>
            <a:chExt cx="648005" cy="648005"/>
          </a:xfrm>
        </p:grpSpPr>
        <p:sp>
          <p:nvSpPr>
            <p:cNvPr id="36" name="Quote_Box">
              <a:extLst>
                <a:ext uri="{FF2B5EF4-FFF2-40B4-BE49-F238E27FC236}">
                  <a16:creationId xmlns:a16="http://schemas.microsoft.com/office/drawing/2014/main" id="{42E56F5C-3AEB-4DE3-8888-7B24F0EA495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6" name="Icon">
              <a:extLst>
                <a:ext uri="{FF2B5EF4-FFF2-40B4-BE49-F238E27FC236}">
                  <a16:creationId xmlns:a16="http://schemas.microsoft.com/office/drawing/2014/main" id="{3DF19E5B-CFF4-45C8-B61A-F63CA122FB99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5EF5EE-3B70-4DA9-9CA4-B61782592FB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32" name="Slide Number">
            <a:extLst>
              <a:ext uri="{FF2B5EF4-FFF2-40B4-BE49-F238E27FC236}">
                <a16:creationId xmlns:a16="http://schemas.microsoft.com/office/drawing/2014/main" id="{FC713103-2866-494C-A53B-1AB3D87EEA7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3" name="Logo">
            <a:extLst>
              <a:ext uri="{FF2B5EF4-FFF2-40B4-BE49-F238E27FC236}">
                <a16:creationId xmlns:a16="http://schemas.microsoft.com/office/drawing/2014/main" id="{CB047E31-151D-47D0-80D7-E717E2B6922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EEA3A2DC-1140-4EDC-B868-8D42AE958DD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B821CE29-24BB-4400-BA45-0223522B7F7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563301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110" name="Affiliation">
            <a:extLst>
              <a:ext uri="{FF2B5EF4-FFF2-40B4-BE49-F238E27FC236}">
                <a16:creationId xmlns:a16="http://schemas.microsoft.com/office/drawing/2014/main" id="{03391EED-1D97-47E6-8177-6C95A24711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784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11" name="Name">
            <a:extLst>
              <a:ext uri="{FF2B5EF4-FFF2-40B4-BE49-F238E27FC236}">
                <a16:creationId xmlns:a16="http://schemas.microsoft.com/office/drawing/2014/main" id="{F8ADE435-12F0-4A39-B8D8-C041290A99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784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15" name="Text Placeholder 9">
            <a:extLst>
              <a:ext uri="{FF2B5EF4-FFF2-40B4-BE49-F238E27FC236}">
                <a16:creationId xmlns:a16="http://schemas.microsoft.com/office/drawing/2014/main" id="{F508999A-BE23-41E9-BBE2-1DC9042691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2784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113" name="Quote_Box">
            <a:extLst>
              <a:ext uri="{FF2B5EF4-FFF2-40B4-BE49-F238E27FC236}">
                <a16:creationId xmlns:a16="http://schemas.microsoft.com/office/drawing/2014/main" id="{63E5C30B-475D-4271-B492-051282960614}"/>
              </a:ext>
            </a:extLst>
          </p:cNvPr>
          <p:cNvSpPr/>
          <p:nvPr userDrawn="1"/>
        </p:nvSpPr>
        <p:spPr>
          <a:xfrm>
            <a:off x="8127844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4" name="Icon">
            <a:extLst>
              <a:ext uri="{FF2B5EF4-FFF2-40B4-BE49-F238E27FC236}">
                <a16:creationId xmlns:a16="http://schemas.microsoft.com/office/drawing/2014/main" id="{6207C573-4A51-45AB-8A2D-1B0EC0E0CF7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263899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4472940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4472940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472940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107" name="Quote_Box">
            <a:extLst>
              <a:ext uri="{FF2B5EF4-FFF2-40B4-BE49-F238E27FC236}">
                <a16:creationId xmlns:a16="http://schemas.microsoft.com/office/drawing/2014/main" id="{BBFBCDF7-264A-4503-9A4A-3935E8AFA293}"/>
              </a:ext>
            </a:extLst>
          </p:cNvPr>
          <p:cNvSpPr/>
          <p:nvPr userDrawn="1"/>
        </p:nvSpPr>
        <p:spPr>
          <a:xfrm>
            <a:off x="4471995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8" name="Icon">
            <a:extLst>
              <a:ext uri="{FF2B5EF4-FFF2-40B4-BE49-F238E27FC236}">
                <a16:creationId xmlns:a16="http://schemas.microsoft.com/office/drawing/2014/main" id="{D21F579F-48BF-483D-8137-FE8CA23EA9A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608050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1711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36" name="Quote_Box">
            <a:extLst>
              <a:ext uri="{FF2B5EF4-FFF2-40B4-BE49-F238E27FC236}">
                <a16:creationId xmlns:a16="http://schemas.microsoft.com/office/drawing/2014/main" id="{42E56F5C-3AEB-4DE3-8888-7B24F0EA4953}"/>
              </a:ext>
            </a:extLst>
          </p:cNvPr>
          <p:cNvSpPr/>
          <p:nvPr userDrawn="1"/>
        </p:nvSpPr>
        <p:spPr>
          <a:xfrm>
            <a:off x="817112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Icon">
            <a:extLst>
              <a:ext uri="{FF2B5EF4-FFF2-40B4-BE49-F238E27FC236}">
                <a16:creationId xmlns:a16="http://schemas.microsoft.com/office/drawing/2014/main" id="{3DF19E5B-CFF4-45C8-B61A-F63CA122FB9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53167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09D31E-8183-451E-99A7-97F7D20575CB}"/>
              </a:ext>
            </a:extLst>
          </p:cNvPr>
          <p:cNvSpPr>
            <a:spLocks noGrp="1"/>
          </p:cNvSpPr>
          <p:nvPr userDrawn="1">
            <p:ph type="ftr" sz="quarter" idx="27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37" name="Slide Number">
            <a:extLst>
              <a:ext uri="{FF2B5EF4-FFF2-40B4-BE49-F238E27FC236}">
                <a16:creationId xmlns:a16="http://schemas.microsoft.com/office/drawing/2014/main" id="{64FA7F3B-629E-4994-9D8D-543F3F50EDA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8" name="Logo">
            <a:extLst>
              <a:ext uri="{FF2B5EF4-FFF2-40B4-BE49-F238E27FC236}">
                <a16:creationId xmlns:a16="http://schemas.microsoft.com/office/drawing/2014/main" id="{8D803CD8-0215-4AF5-8112-85A0C960BE0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1FE609AA-87CA-4AAA-86B8-3A5F58ED1C2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0A9110DB-3204-4593-B863-F03340BAE92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799194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State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ure">
            <a:extLst>
              <a:ext uri="{FF2B5EF4-FFF2-40B4-BE49-F238E27FC236}">
                <a16:creationId xmlns:a16="http://schemas.microsoft.com/office/drawing/2014/main" id="{1E4985FC-C4A1-4C4E-9D8B-E1EF235D55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54FD730-BB81-4C20-B6E9-3E0B048CAC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1463040"/>
            <a:ext cx="11292840" cy="3785616"/>
          </a:xfrm>
        </p:spPr>
        <p:txBody>
          <a:bodyPr anchor="ctr"/>
          <a:lstStyle>
            <a:lvl1pPr algn="ctr">
              <a:lnSpc>
                <a:spcPct val="90000"/>
              </a:lnSpc>
              <a:defRPr lang="en-US" sz="4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/>
              <a:t>Large statement layout.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9D9AE906-1DB3-4285-A68A-0F8B8AC97C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27E814A0-99D6-40C5-A745-5C658684C0F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7" name="Logo">
            <a:extLst>
              <a:ext uri="{FF2B5EF4-FFF2-40B4-BE49-F238E27FC236}">
                <a16:creationId xmlns:a16="http://schemas.microsoft.com/office/drawing/2014/main" id="{CBA27C52-51B0-46E5-A354-FDA0C0E69C9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0AE504F3-CE1B-4FFA-90CB-0DB30ADE04C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47EEFBCB-3E60-4B8E-989D-3A4D50513D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20097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1D815A8-0624-4A10-B1F3-C19B0E2331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09984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(No Textur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lide Number">
            <a:extLst>
              <a:ext uri="{FF2B5EF4-FFF2-40B4-BE49-F238E27FC236}">
                <a16:creationId xmlns:a16="http://schemas.microsoft.com/office/drawing/2014/main" id="{C1F06F61-6DD2-446B-987D-B384047C087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5" name="Logo">
            <a:extLst>
              <a:ext uri="{FF2B5EF4-FFF2-40B4-BE49-F238E27FC236}">
                <a16:creationId xmlns:a16="http://schemas.microsoft.com/office/drawing/2014/main" id="{56CEE073-8BD3-492B-BD4A-547A71C58B3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FC4CFB3E-CC68-4065-BA51-35CB29381FC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80F4F0DF-D1F7-485E-8B01-94A5F0B04E4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8FB5C1-1733-49B1-83F7-48444CAFE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56952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F2D524AB-E282-4686-B58B-641438DC9B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BD298B8-A731-40B0-A82D-73E38F5E3C48}"/>
              </a:ext>
            </a:extLst>
          </p:cNvPr>
          <p:cNvSpPr/>
          <p:nvPr userDrawn="1"/>
        </p:nvSpPr>
        <p:spPr>
          <a:xfrm>
            <a:off x="2990868" y="1895475"/>
            <a:ext cx="6496032" cy="2883030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077A18B9-3018-42E0-8877-4E494677B9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757744" y="2807676"/>
            <a:ext cx="4676512" cy="1097280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66A3BF12-9A81-464B-8E0D-17C715D2D57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5C73C4CA-E0CE-41EC-A841-98AAB5DA855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133441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ID">
            <a:extLst>
              <a:ext uri="{FF2B5EF4-FFF2-40B4-BE49-F238E27FC236}">
                <a16:creationId xmlns:a16="http://schemas.microsoft.com/office/drawing/2014/main" id="{B01B4ED1-11E6-4650-B725-EC73B57E4A24}"/>
              </a:ext>
            </a:extLst>
          </p:cNvPr>
          <p:cNvGrpSpPr/>
          <p:nvPr userDrawn="1"/>
        </p:nvGrpSpPr>
        <p:grpSpPr>
          <a:xfrm>
            <a:off x="0" y="-1"/>
            <a:ext cx="12192000" cy="6858001"/>
            <a:chOff x="0" y="-1"/>
            <a:chExt cx="12192000" cy="6858001"/>
          </a:xfrm>
        </p:grpSpPr>
        <p:grpSp>
          <p:nvGrpSpPr>
            <p:cNvPr id="90" name="5-Columns">
              <a:extLst>
                <a:ext uri="{FF2B5EF4-FFF2-40B4-BE49-F238E27FC236}">
                  <a16:creationId xmlns:a16="http://schemas.microsoft.com/office/drawing/2014/main" id="{7FDABA8A-9F63-4CB3-AD6D-E3081FE4A134}"/>
                </a:ext>
              </a:extLst>
            </p:cNvPr>
            <p:cNvGrpSpPr/>
            <p:nvPr userDrawn="1"/>
          </p:nvGrpSpPr>
          <p:grpSpPr>
            <a:xfrm>
              <a:off x="457196" y="6369995"/>
              <a:ext cx="11284638" cy="66775"/>
              <a:chOff x="457196" y="6369995"/>
              <a:chExt cx="11284638" cy="66775"/>
            </a:xfrm>
            <a:solidFill>
              <a:schemeClr val="accent1">
                <a:lumMod val="40000"/>
                <a:lumOff val="60000"/>
                <a:alpha val="35000"/>
              </a:schemeClr>
            </a:solidFill>
          </p:grpSpPr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8CCE06-2803-4BC4-8F52-8C22514AAC9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7196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1" name="Rectangle 240">
                <a:extLst>
                  <a:ext uri="{FF2B5EF4-FFF2-40B4-BE49-F238E27FC236}">
                    <a16:creationId xmlns:a16="http://schemas.microsoft.com/office/drawing/2014/main" id="{EFEE6688-BF23-4A0F-B580-67F2EB80DF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757020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2" name="Rectangle 241">
                <a:extLst>
                  <a:ext uri="{FF2B5EF4-FFF2-40B4-BE49-F238E27FC236}">
                    <a16:creationId xmlns:a16="http://schemas.microsoft.com/office/drawing/2014/main" id="{0867ECC9-01B8-4FD0-AA00-DB2A4DF6D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56844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3" name="Rectangle 242">
                <a:extLst>
                  <a:ext uri="{FF2B5EF4-FFF2-40B4-BE49-F238E27FC236}">
                    <a16:creationId xmlns:a16="http://schemas.microsoft.com/office/drawing/2014/main" id="{0F74219B-904B-4014-A041-38C261EB95B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56668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4" name="Rectangle 243">
                <a:extLst>
                  <a:ext uri="{FF2B5EF4-FFF2-40B4-BE49-F238E27FC236}">
                    <a16:creationId xmlns:a16="http://schemas.microsoft.com/office/drawing/2014/main" id="{D37F15D0-DE02-4884-B44D-921B540070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656491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1" name="Columns">
              <a:extLst>
                <a:ext uri="{FF2B5EF4-FFF2-40B4-BE49-F238E27FC236}">
                  <a16:creationId xmlns:a16="http://schemas.microsoft.com/office/drawing/2014/main" id="{CA147F0F-2720-4D14-BF12-11A0E876C4F5}"/>
                </a:ext>
              </a:extLst>
            </p:cNvPr>
            <p:cNvGrpSpPr/>
            <p:nvPr userDrawn="1"/>
          </p:nvGrpSpPr>
          <p:grpSpPr>
            <a:xfrm>
              <a:off x="450165" y="422030"/>
              <a:ext cx="11291670" cy="5868573"/>
              <a:chOff x="450165" y="422030"/>
              <a:chExt cx="11291670" cy="5868573"/>
            </a:xfrm>
            <a:solidFill>
              <a:schemeClr val="accent1">
                <a:lumMod val="40000"/>
                <a:lumOff val="60000"/>
                <a:alpha val="20000"/>
              </a:schemeClr>
            </a:solidFill>
          </p:grpSpPr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9751839D-CEC1-45BE-9708-DAA3CE5F68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01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33028180-FC57-41E2-9874-BD949906CC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0987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A428A839-7BAF-4979-A0EE-91F40C11FE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36958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E8E5B971-2FFF-495D-904E-1754501FCD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2929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331A14FD-E4E3-44E8-90C4-63354F192C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8900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825AFDC6-95BA-4E36-A7E5-2434D0A29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4871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D716465D-EE0D-4453-A606-A83F187D3C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20842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3DC79EC4-363A-4716-8E58-408C7D981B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6813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49FF239A-FB3F-48EE-8991-0EE98B0258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2784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42B26A2-737C-48BF-B21F-47EABB25FB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755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E3076E2C-385C-42BA-8312-8A176F9204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472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9B8902CC-F93D-4AE7-A8DC-25DC91A68D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06977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2" name="Half-Columns">
              <a:extLst>
                <a:ext uri="{FF2B5EF4-FFF2-40B4-BE49-F238E27FC236}">
                  <a16:creationId xmlns:a16="http://schemas.microsoft.com/office/drawing/2014/main" id="{204B2196-46C3-43E9-B91C-0070561E93CD}"/>
                </a:ext>
              </a:extLst>
            </p:cNvPr>
            <p:cNvGrpSpPr/>
            <p:nvPr userDrawn="1"/>
          </p:nvGrpSpPr>
          <p:grpSpPr>
            <a:xfrm>
              <a:off x="817594" y="422030"/>
              <a:ext cx="10556812" cy="5868573"/>
              <a:chOff x="817594" y="422030"/>
              <a:chExt cx="10556812" cy="5868573"/>
            </a:xfrm>
          </p:grpSpPr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B4C2424A-DAE7-47F5-803E-8B0C3C4C0B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75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1F10CFA4-C33B-4610-8DB6-2E8EC6F927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7730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EB84BBF9-CCBD-4D1E-9F11-4BC2A4DEC4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3701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1256665B-0348-4F3E-ACD5-FD9756A20B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72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61724F5A-484B-49DE-9661-FAACDAE743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5643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169D8861-3D05-4F47-A6E6-629CBE006E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1614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2AF0C905-F3F8-4655-B2FF-297DA836C0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7585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25C9DF23-3824-4397-B5F3-CA748E2542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3556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4" name="Straight Connector 223">
                <a:extLst>
                  <a:ext uri="{FF2B5EF4-FFF2-40B4-BE49-F238E27FC236}">
                    <a16:creationId xmlns:a16="http://schemas.microsoft.com/office/drawing/2014/main" id="{4810292C-F27F-4ADA-A818-ED47B4FDC9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9527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Straight Connector 224">
                <a:extLst>
                  <a:ext uri="{FF2B5EF4-FFF2-40B4-BE49-F238E27FC236}">
                    <a16:creationId xmlns:a16="http://schemas.microsoft.com/office/drawing/2014/main" id="{0FA31E9E-A1D6-4A1F-A31B-8155BD7639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5498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>
                <a:extLst>
                  <a:ext uri="{FF2B5EF4-FFF2-40B4-BE49-F238E27FC236}">
                    <a16:creationId xmlns:a16="http://schemas.microsoft.com/office/drawing/2014/main" id="{0ADD4CF6-2B17-408C-B1A2-571FACF84D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4146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B1F99D05-254F-46BB-9DB1-7A8273EE2D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74406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Minor-Baselines">
              <a:extLst>
                <a:ext uri="{FF2B5EF4-FFF2-40B4-BE49-F238E27FC236}">
                  <a16:creationId xmlns:a16="http://schemas.microsoft.com/office/drawing/2014/main" id="{98E6344D-0E97-46AD-8557-F3655F4C668A}"/>
                </a:ext>
              </a:extLst>
            </p:cNvPr>
            <p:cNvGrpSpPr/>
            <p:nvPr userDrawn="1"/>
          </p:nvGrpSpPr>
          <p:grpSpPr>
            <a:xfrm>
              <a:off x="0" y="594635"/>
              <a:ext cx="12192000" cy="5523360"/>
              <a:chOff x="0" y="594635"/>
              <a:chExt cx="12192000" cy="5523360"/>
            </a:xfrm>
          </p:grpSpPr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43988CC1-B2D8-45F6-99EB-F0C991951B5A}"/>
                  </a:ext>
                </a:extLst>
              </p:cNvPr>
              <p:cNvCxnSpPr/>
              <p:nvPr userDrawn="1"/>
            </p:nvCxnSpPr>
            <p:spPr>
              <a:xfrm flipH="1">
                <a:off x="0" y="12850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FDC16D86-ECC2-46A0-98AD-FF37E7984488}"/>
                  </a:ext>
                </a:extLst>
              </p:cNvPr>
              <p:cNvCxnSpPr/>
              <p:nvPr userDrawn="1"/>
            </p:nvCxnSpPr>
            <p:spPr>
              <a:xfrm flipH="1">
                <a:off x="0" y="16302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73384F88-CFC2-485A-85E5-BC9A387E70FA}"/>
                  </a:ext>
                </a:extLst>
              </p:cNvPr>
              <p:cNvCxnSpPr/>
              <p:nvPr userDrawn="1"/>
            </p:nvCxnSpPr>
            <p:spPr>
              <a:xfrm flipH="1">
                <a:off x="0" y="19754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7C0AFBD-D26D-4ADF-A7A4-2C3FA6041EFE}"/>
                  </a:ext>
                </a:extLst>
              </p:cNvPr>
              <p:cNvCxnSpPr/>
              <p:nvPr userDrawn="1"/>
            </p:nvCxnSpPr>
            <p:spPr>
              <a:xfrm flipH="1">
                <a:off x="0" y="23206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DB0F5EF3-3B04-4F24-AAF0-42DB116656FA}"/>
                  </a:ext>
                </a:extLst>
              </p:cNvPr>
              <p:cNvCxnSpPr/>
              <p:nvPr userDrawn="1"/>
            </p:nvCxnSpPr>
            <p:spPr>
              <a:xfrm flipH="1">
                <a:off x="0" y="26658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BCEB7FB8-D33A-40E7-837C-1FA51F98C0D6}"/>
                  </a:ext>
                </a:extLst>
              </p:cNvPr>
              <p:cNvCxnSpPr/>
              <p:nvPr userDrawn="1"/>
            </p:nvCxnSpPr>
            <p:spPr>
              <a:xfrm flipH="1">
                <a:off x="0" y="301110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16B25582-EDFD-47F5-ADFD-07688165CA6C}"/>
                  </a:ext>
                </a:extLst>
              </p:cNvPr>
              <p:cNvCxnSpPr/>
              <p:nvPr userDrawn="1"/>
            </p:nvCxnSpPr>
            <p:spPr>
              <a:xfrm flipH="1">
                <a:off x="0" y="335631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D8EBB482-69CF-40F9-8E45-C88546A14A6E}"/>
                  </a:ext>
                </a:extLst>
              </p:cNvPr>
              <p:cNvCxnSpPr/>
              <p:nvPr userDrawn="1"/>
            </p:nvCxnSpPr>
            <p:spPr>
              <a:xfrm flipH="1">
                <a:off x="0" y="370152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CE2B10BC-DCC9-40B3-82C4-86EB18E49EEC}"/>
                  </a:ext>
                </a:extLst>
              </p:cNvPr>
              <p:cNvCxnSpPr/>
              <p:nvPr userDrawn="1"/>
            </p:nvCxnSpPr>
            <p:spPr>
              <a:xfrm flipH="1">
                <a:off x="0" y="40467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2E5809F8-35AA-4D63-B6C8-44DAA8666405}"/>
                  </a:ext>
                </a:extLst>
              </p:cNvPr>
              <p:cNvCxnSpPr/>
              <p:nvPr userDrawn="1"/>
            </p:nvCxnSpPr>
            <p:spPr>
              <a:xfrm flipH="1">
                <a:off x="0" y="43919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3A46BE4C-4471-46C7-A09E-442332E02E5B}"/>
                  </a:ext>
                </a:extLst>
              </p:cNvPr>
              <p:cNvCxnSpPr/>
              <p:nvPr userDrawn="1"/>
            </p:nvCxnSpPr>
            <p:spPr>
              <a:xfrm flipH="1">
                <a:off x="0" y="47371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52072814-59AF-4554-A7A1-BB6D9C0EED50}"/>
                  </a:ext>
                </a:extLst>
              </p:cNvPr>
              <p:cNvCxnSpPr/>
              <p:nvPr userDrawn="1"/>
            </p:nvCxnSpPr>
            <p:spPr>
              <a:xfrm flipH="1">
                <a:off x="0" y="50823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C32D6D8F-072E-4B53-B77E-DC633C5DA123}"/>
                  </a:ext>
                </a:extLst>
              </p:cNvPr>
              <p:cNvCxnSpPr/>
              <p:nvPr userDrawn="1"/>
            </p:nvCxnSpPr>
            <p:spPr>
              <a:xfrm flipH="1">
                <a:off x="0" y="54275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C36E0E73-A5E6-4E43-A3EA-1688EAC87F2E}"/>
                  </a:ext>
                </a:extLst>
              </p:cNvPr>
              <p:cNvCxnSpPr/>
              <p:nvPr userDrawn="1"/>
            </p:nvCxnSpPr>
            <p:spPr>
              <a:xfrm flipH="1">
                <a:off x="0" y="57727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364620E0-5F0B-419B-9A61-2736EE017C27}"/>
                  </a:ext>
                </a:extLst>
              </p:cNvPr>
              <p:cNvCxnSpPr/>
              <p:nvPr userDrawn="1"/>
            </p:nvCxnSpPr>
            <p:spPr>
              <a:xfrm flipH="1">
                <a:off x="0" y="9398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3600B6D8-8A6B-4BA6-9922-580E6EF2B022}"/>
                  </a:ext>
                </a:extLst>
              </p:cNvPr>
              <p:cNvCxnSpPr/>
              <p:nvPr userDrawn="1"/>
            </p:nvCxnSpPr>
            <p:spPr>
              <a:xfrm flipH="1">
                <a:off x="0" y="5946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779A02F2-15A0-4404-89EA-FD88F74D3901}"/>
                  </a:ext>
                </a:extLst>
              </p:cNvPr>
              <p:cNvCxnSpPr/>
              <p:nvPr userDrawn="1"/>
            </p:nvCxnSpPr>
            <p:spPr>
              <a:xfrm flipH="1">
                <a:off x="0" y="61179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Major-Baselines">
              <a:extLst>
                <a:ext uri="{FF2B5EF4-FFF2-40B4-BE49-F238E27FC236}">
                  <a16:creationId xmlns:a16="http://schemas.microsoft.com/office/drawing/2014/main" id="{6BF42672-DF70-44F3-B7CA-14A6979B434F}"/>
                </a:ext>
              </a:extLst>
            </p:cNvPr>
            <p:cNvGrpSpPr/>
            <p:nvPr userDrawn="1"/>
          </p:nvGrpSpPr>
          <p:grpSpPr>
            <a:xfrm>
              <a:off x="0" y="767240"/>
              <a:ext cx="12192000" cy="5178150"/>
              <a:chOff x="0" y="767240"/>
              <a:chExt cx="12192000" cy="5178150"/>
            </a:xfrm>
          </p:grpSpPr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F9CF9ECB-458C-47D9-B4BC-21087E05A585}"/>
                  </a:ext>
                </a:extLst>
              </p:cNvPr>
              <p:cNvCxnSpPr/>
              <p:nvPr/>
            </p:nvCxnSpPr>
            <p:spPr>
              <a:xfrm flipH="1">
                <a:off x="0" y="14576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36C496AA-6375-48D7-856A-D734E8E4CC99}"/>
                  </a:ext>
                </a:extLst>
              </p:cNvPr>
              <p:cNvCxnSpPr/>
              <p:nvPr/>
            </p:nvCxnSpPr>
            <p:spPr>
              <a:xfrm flipH="1">
                <a:off x="0" y="18028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08EA394B-F758-47C2-8E09-4C30FE4E9810}"/>
                  </a:ext>
                </a:extLst>
              </p:cNvPr>
              <p:cNvCxnSpPr/>
              <p:nvPr/>
            </p:nvCxnSpPr>
            <p:spPr>
              <a:xfrm flipH="1">
                <a:off x="0" y="21480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12C99AEE-DED4-4917-B2D7-796AEC3A484F}"/>
                  </a:ext>
                </a:extLst>
              </p:cNvPr>
              <p:cNvCxnSpPr/>
              <p:nvPr/>
            </p:nvCxnSpPr>
            <p:spPr>
              <a:xfrm flipH="1">
                <a:off x="0" y="24932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9C5D77AD-8508-45AD-834F-CE4F2430EA20}"/>
                  </a:ext>
                </a:extLst>
              </p:cNvPr>
              <p:cNvCxnSpPr/>
              <p:nvPr/>
            </p:nvCxnSpPr>
            <p:spPr>
              <a:xfrm flipH="1">
                <a:off x="0" y="283850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04E9F12A-A21A-40D7-AC40-55C2530CAAF2}"/>
                  </a:ext>
                </a:extLst>
              </p:cNvPr>
              <p:cNvCxnSpPr/>
              <p:nvPr/>
            </p:nvCxnSpPr>
            <p:spPr>
              <a:xfrm flipH="1">
                <a:off x="0" y="318371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E75DAFB1-56AC-4F65-BCF8-63F8201D42F1}"/>
                  </a:ext>
                </a:extLst>
              </p:cNvPr>
              <p:cNvCxnSpPr/>
              <p:nvPr/>
            </p:nvCxnSpPr>
            <p:spPr>
              <a:xfrm flipH="1">
                <a:off x="0" y="352892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57C01E0A-93E3-4ED0-B575-9CCBF85B5EB0}"/>
                  </a:ext>
                </a:extLst>
              </p:cNvPr>
              <p:cNvCxnSpPr/>
              <p:nvPr/>
            </p:nvCxnSpPr>
            <p:spPr>
              <a:xfrm flipH="1">
                <a:off x="0" y="387413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D5EB4A7E-05D6-4483-9749-137062ABB64E}"/>
                  </a:ext>
                </a:extLst>
              </p:cNvPr>
              <p:cNvCxnSpPr/>
              <p:nvPr/>
            </p:nvCxnSpPr>
            <p:spPr>
              <a:xfrm flipH="1">
                <a:off x="0" y="42193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0185FF42-7436-456C-B038-DF7FCC9B86C4}"/>
                  </a:ext>
                </a:extLst>
              </p:cNvPr>
              <p:cNvCxnSpPr/>
              <p:nvPr/>
            </p:nvCxnSpPr>
            <p:spPr>
              <a:xfrm flipH="1">
                <a:off x="0" y="45645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F71B5F2E-D126-4777-9BB0-A0FAB3F2CAFD}"/>
                  </a:ext>
                </a:extLst>
              </p:cNvPr>
              <p:cNvCxnSpPr/>
              <p:nvPr/>
            </p:nvCxnSpPr>
            <p:spPr>
              <a:xfrm flipH="1">
                <a:off x="0" y="49097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00090F01-D3B0-4CC1-B868-3834E45B2BEF}"/>
                  </a:ext>
                </a:extLst>
              </p:cNvPr>
              <p:cNvCxnSpPr/>
              <p:nvPr/>
            </p:nvCxnSpPr>
            <p:spPr>
              <a:xfrm flipH="1">
                <a:off x="0" y="52549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B49511C0-4CC6-4C57-BD16-06DFA68C5177}"/>
                  </a:ext>
                </a:extLst>
              </p:cNvPr>
              <p:cNvCxnSpPr/>
              <p:nvPr/>
            </p:nvCxnSpPr>
            <p:spPr>
              <a:xfrm flipH="1">
                <a:off x="0" y="56001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823DBF0E-1AA8-4FBC-BFCF-C35A665C6AAD}"/>
                  </a:ext>
                </a:extLst>
              </p:cNvPr>
              <p:cNvCxnSpPr/>
              <p:nvPr/>
            </p:nvCxnSpPr>
            <p:spPr>
              <a:xfrm flipH="1">
                <a:off x="0" y="59453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16F927AE-A157-4A95-BD1F-5D4003848AE5}"/>
                  </a:ext>
                </a:extLst>
              </p:cNvPr>
              <p:cNvCxnSpPr/>
              <p:nvPr/>
            </p:nvCxnSpPr>
            <p:spPr>
              <a:xfrm flipH="1">
                <a:off x="0" y="11124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AF1893BF-3A5C-45A7-80A6-F95888D2C2E9}"/>
                  </a:ext>
                </a:extLst>
              </p:cNvPr>
              <p:cNvCxnSpPr/>
              <p:nvPr/>
            </p:nvCxnSpPr>
            <p:spPr>
              <a:xfrm flipH="1">
                <a:off x="0" y="7672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Margins">
              <a:extLst>
                <a:ext uri="{FF2B5EF4-FFF2-40B4-BE49-F238E27FC236}">
                  <a16:creationId xmlns:a16="http://schemas.microsoft.com/office/drawing/2014/main" id="{1987983C-C65D-47F1-8B52-9BB74C6156DF}"/>
                </a:ext>
              </a:extLst>
            </p:cNvPr>
            <p:cNvGrpSpPr/>
            <p:nvPr userDrawn="1"/>
          </p:nvGrpSpPr>
          <p:grpSpPr>
            <a:xfrm>
              <a:off x="0" y="-1"/>
              <a:ext cx="12192000" cy="6858001"/>
              <a:chOff x="0" y="-1"/>
              <a:chExt cx="12192000" cy="6858001"/>
            </a:xfrm>
          </p:grpSpPr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2D64F71A-57E0-44C6-B31D-7B42B82DD2CE}"/>
                  </a:ext>
                </a:extLst>
              </p:cNvPr>
              <p:cNvGrpSpPr/>
              <p:nvPr userDrawn="1"/>
            </p:nvGrpSpPr>
            <p:grpSpPr>
              <a:xfrm>
                <a:off x="450166" y="-1"/>
                <a:ext cx="11291668" cy="6858001"/>
                <a:chOff x="450166" y="-295422"/>
                <a:chExt cx="11291668" cy="7491047"/>
              </a:xfrm>
            </p:grpSpPr>
            <p:cxnSp>
              <p:nvCxnSpPr>
                <p:cNvPr id="103" name="Straight Connector 102">
                  <a:extLst>
                    <a:ext uri="{FF2B5EF4-FFF2-40B4-BE49-F238E27FC236}">
                      <a16:creationId xmlns:a16="http://schemas.microsoft.com/office/drawing/2014/main" id="{7D8CFD01-2438-4217-AA3E-AC3BA160D143}"/>
                    </a:ext>
                  </a:extLst>
                </p:cNvPr>
                <p:cNvCxnSpPr/>
                <p:nvPr/>
              </p:nvCxnSpPr>
              <p:spPr>
                <a:xfrm>
                  <a:off x="450166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Connector 103">
                  <a:extLst>
                    <a:ext uri="{FF2B5EF4-FFF2-40B4-BE49-F238E27FC236}">
                      <a16:creationId xmlns:a16="http://schemas.microsoft.com/office/drawing/2014/main" id="{09FDB0BB-10D1-469E-A843-451C93653F0B}"/>
                    </a:ext>
                  </a:extLst>
                </p:cNvPr>
                <p:cNvCxnSpPr/>
                <p:nvPr/>
              </p:nvCxnSpPr>
              <p:spPr>
                <a:xfrm>
                  <a:off x="11741834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23DA59C4-54B1-44E7-8615-E9D3B756CD6D}"/>
                  </a:ext>
                </a:extLst>
              </p:cNvPr>
              <p:cNvGrpSpPr/>
              <p:nvPr userDrawn="1"/>
            </p:nvGrpSpPr>
            <p:grpSpPr>
              <a:xfrm>
                <a:off x="0" y="422030"/>
                <a:ext cx="12192000" cy="5868573"/>
                <a:chOff x="0" y="422030"/>
                <a:chExt cx="12192000" cy="5868573"/>
              </a:xfrm>
            </p:grpSpPr>
            <p:cxnSp>
              <p:nvCxnSpPr>
                <p:cNvPr id="101" name="Straight Connector 100">
                  <a:extLst>
                    <a:ext uri="{FF2B5EF4-FFF2-40B4-BE49-F238E27FC236}">
                      <a16:creationId xmlns:a16="http://schemas.microsoft.com/office/drawing/2014/main" id="{25110C17-BFAC-419F-917B-35541EA792A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42203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Straight Connector 101">
                  <a:extLst>
                    <a:ext uri="{FF2B5EF4-FFF2-40B4-BE49-F238E27FC236}">
                      <a16:creationId xmlns:a16="http://schemas.microsoft.com/office/drawing/2014/main" id="{C9E58F6F-92A5-473B-9FED-3D90ECE09E5D}"/>
                    </a:ext>
                  </a:extLst>
                </p:cNvPr>
                <p:cNvCxnSpPr/>
                <p:nvPr userDrawn="1"/>
              </p:nvCxnSpPr>
              <p:spPr>
                <a:xfrm>
                  <a:off x="0" y="6290603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D0BD5319-1193-4438-BF01-B64CF6D0D212}"/>
                  </a:ext>
                </a:extLst>
              </p:cNvPr>
              <p:cNvGrpSpPr/>
              <p:nvPr userDrawn="1"/>
            </p:nvGrpSpPr>
            <p:grpSpPr>
              <a:xfrm>
                <a:off x="0" y="1457660"/>
                <a:ext cx="12192000" cy="345210"/>
                <a:chOff x="0" y="1457660"/>
                <a:chExt cx="12192000" cy="345210"/>
              </a:xfrm>
            </p:grpSpPr>
            <p:cxnSp>
              <p:nvCxnSpPr>
                <p:cNvPr id="99" name="Straight Connector 98">
                  <a:extLst>
                    <a:ext uri="{FF2B5EF4-FFF2-40B4-BE49-F238E27FC236}">
                      <a16:creationId xmlns:a16="http://schemas.microsoft.com/office/drawing/2014/main" id="{ED443DF1-4231-4D92-8DA5-C1F4B954AFC4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45766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Straight Connector 99">
                  <a:extLst>
                    <a:ext uri="{FF2B5EF4-FFF2-40B4-BE49-F238E27FC236}">
                      <a16:creationId xmlns:a16="http://schemas.microsoft.com/office/drawing/2014/main" id="{14C68D45-D4C2-497B-A9FF-6ADE11C36C5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80287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12471491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B43DC9BF-B86E-41C3-9025-257603C6C46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03C20BBD-F2FD-4A4D-B556-572D7207BCE8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34" name="Logo">
            <a:extLst>
              <a:ext uri="{FF2B5EF4-FFF2-40B4-BE49-F238E27FC236}">
                <a16:creationId xmlns:a16="http://schemas.microsoft.com/office/drawing/2014/main" id="{E3F269C9-4FA8-4772-AD37-31EE93FFE599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09D9C9E1-25E5-483A-B7BC-660D3D3BFE4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98453535-0FA3-4BC2-896D-B75809B1977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Ruler">
            <a:extLst>
              <a:ext uri="{FF2B5EF4-FFF2-40B4-BE49-F238E27FC236}">
                <a16:creationId xmlns:a16="http://schemas.microsoft.com/office/drawing/2014/main" id="{70E5BD5C-60C7-4101-99EB-CFC9224AD7B1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B101E02-F838-4187-B559-8AAE85AB8E2C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704FBA9-913D-4B32-AC77-21FE53C0763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F7620BDF-DEE5-4359-9427-F80C2D3B2F2A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609FFEF8-C551-442A-BFBE-82B27BAA70D4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030E7191-0FEE-4B6B-AAE0-7E6505AAFF96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0B20760-2C74-490B-8779-0A3CEC331376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2C7CD8C-10E9-4C4D-AF46-8EAA7E7B84D7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1A9DBD41-B998-4B1C-A2AD-746277984ECF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80011DFB-F9A6-4F90-A169-06A40F2D4491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1FCB742D-4AAE-446A-95AF-D86CE705B38D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3622024-A6FB-4862-AAA9-378E17CB2F6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DDF8BE4-F228-4207-9F16-38714201F036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0F0D7718-987E-4A31-88D8-257BD9D16439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E1895AC8-2DE9-4C57-9175-D6619461AA6A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615B7B8D-36D9-46DB-BDD6-8D7FCA31766A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81AF8FD-CBB7-47C3-92D4-68F412B850C3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075397F3-9A79-4A57-9C34-2D06B47E2F34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E17F042D-D6EC-49C7-8409-4FB587063A25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7F47560C-6D83-4B1E-A656-E798CCE71DB3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Speaker Name">
            <a:extLst>
              <a:ext uri="{FF2B5EF4-FFF2-40B4-BE49-F238E27FC236}">
                <a16:creationId xmlns:a16="http://schemas.microsoft.com/office/drawing/2014/main" id="{0D03EEEE-B07B-48F4-B55F-C322BA4FCC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Name</a:t>
            </a:r>
          </a:p>
        </p:txBody>
      </p:sp>
      <p:sp>
        <p:nvSpPr>
          <p:cNvPr id="58" name="Text Placeholder 128">
            <a:extLst>
              <a:ext uri="{FF2B5EF4-FFF2-40B4-BE49-F238E27FC236}">
                <a16:creationId xmlns:a16="http://schemas.microsoft.com/office/drawing/2014/main" id="{02F3F674-6E3E-4B4F-A461-192B2E1A3E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 dirty="0"/>
              <a:t>YYYY.MM.DD</a:t>
            </a:r>
          </a:p>
        </p:txBody>
      </p:sp>
      <p:sp>
        <p:nvSpPr>
          <p:cNvPr id="59" name="Speaker Title">
            <a:extLst>
              <a:ext uri="{FF2B5EF4-FFF2-40B4-BE49-F238E27FC236}">
                <a16:creationId xmlns:a16="http://schemas.microsoft.com/office/drawing/2014/main" id="{058F1415-E1D6-47DA-A185-76C3FC2257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Title / Company Nam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5B3A83E2-FA5C-4BC9-8B76-2DE81BEB61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3329295" y="2440333"/>
            <a:ext cx="5533406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 algn="ctr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4F1EC20-D177-4F9A-AF02-5ABB483C64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935570"/>
            <a:ext cx="9372600" cy="1335024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 dirty="0"/>
              <a:t>Title Slide</a:t>
            </a:r>
            <a:br>
              <a:rPr lang="en-US" dirty="0"/>
            </a:br>
            <a:r>
              <a:rPr lang="en-US" dirty="0"/>
              <a:t>with Subtitle Lay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0DA467-6522-4105-A238-D69A42AC0280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8351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ure">
            <a:extLst>
              <a:ext uri="{FF2B5EF4-FFF2-40B4-BE49-F238E27FC236}">
                <a16:creationId xmlns:a16="http://schemas.microsoft.com/office/drawing/2014/main" id="{8069FB3F-2D73-4C3F-A7A8-E6A22F71C3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544ECD5-A100-4CBB-BE85-5E2DB93996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1034" b="37183"/>
          <a:stretch/>
        </p:blipFill>
        <p:spPr>
          <a:xfrm>
            <a:off x="0" y="5372101"/>
            <a:ext cx="2354138" cy="1485900"/>
          </a:xfrm>
          <a:prstGeom prst="rect">
            <a:avLst/>
          </a:prstGeom>
        </p:spPr>
      </p:pic>
      <p:sp>
        <p:nvSpPr>
          <p:cNvPr id="5" name="Subtitle">
            <a:extLst>
              <a:ext uri="{FF2B5EF4-FFF2-40B4-BE49-F238E27FC236}">
                <a16:creationId xmlns:a16="http://schemas.microsoft.com/office/drawing/2014/main" id="{1C588A51-7159-4E94-9856-B64483B8F9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479908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 (Delete if not used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DB11C21-4702-4664-8D59-793314F8EA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528919"/>
            <a:ext cx="9372600" cy="121439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Segue Layou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052D0D-2EA4-4CCE-90FA-A02A78C3585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C761C9BF-9222-4B2A-A19A-B5A2710D93B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8" name="Logo">
            <a:extLst>
              <a:ext uri="{FF2B5EF4-FFF2-40B4-BE49-F238E27FC236}">
                <a16:creationId xmlns:a16="http://schemas.microsoft.com/office/drawing/2014/main" id="{507CC42B-659C-4CD4-9F20-358BBD7B0A6B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48801B8-52B3-47AC-9853-2375E256E3A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64F20CB9-4127-4672-B9D3-714FA916023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420317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ADC8EF-0ABA-4B52-AEA2-7A3943163E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2B8CEC4-B0CD-4400-A6AD-DD3E12310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</a:t>
            </a:r>
          </a:p>
        </p:txBody>
      </p:sp>
    </p:spTree>
    <p:extLst>
      <p:ext uri="{BB962C8B-B14F-4D97-AF65-F5344CB8AC3E}">
        <p14:creationId xmlns:p14="http://schemas.microsoft.com/office/powerpoint/2010/main" val="13761822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1129284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F94C0C-A1DE-4B4E-81B9-1791716845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On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4500251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8776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08BA35-76C2-4ED8-B770-6CBDC27C821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187FFC-2B63-49CE-B2BC-B238E1BC7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 Column Layout</a:t>
            </a:r>
          </a:p>
        </p:txBody>
      </p:sp>
    </p:spTree>
    <p:extLst>
      <p:ext uri="{BB962C8B-B14F-4D97-AF65-F5344CB8AC3E}">
        <p14:creationId xmlns:p14="http://schemas.microsoft.com/office/powerpoint/2010/main" val="1645166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E7D5292-8D24-405D-9E5D-79D2DD40F68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29016" y="1802869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89298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04F64A-6956-41D3-B0E4-CCC3453A7F7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030608-2773-46C2-905B-B17C3B831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hre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3114457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99E3BF3-DA31-48DD-AC45-91FC2DBAAD4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51704" y="0"/>
            <a:ext cx="6940296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82296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Click icon below to insert pictur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1368"/>
            <a:ext cx="4206240" cy="448056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420624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.I.N.U.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051183-1C65-4067-A80F-CAB4F09E82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72339"/>
            <a:ext cx="4206240" cy="49244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Photo Right Layout</a:t>
            </a:r>
          </a:p>
        </p:txBody>
      </p:sp>
    </p:spTree>
    <p:extLst>
      <p:ext uri="{BB962C8B-B14F-4D97-AF65-F5344CB8AC3E}">
        <p14:creationId xmlns:p14="http://schemas.microsoft.com/office/powerpoint/2010/main" val="3141418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F94C0C-A1DE-4B4E-81B9-1791716845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One Column Layout</a:t>
            </a:r>
          </a:p>
        </p:txBody>
      </p:sp>
      <p:sp>
        <p:nvSpPr>
          <p:cNvPr id="6" name="Content Placeholder 11">
            <a:extLst>
              <a:ext uri="{FF2B5EF4-FFF2-40B4-BE49-F238E27FC236}">
                <a16:creationId xmlns:a16="http://schemas.microsoft.com/office/drawing/2014/main" id="{A6A5F327-94E3-4266-9A78-098328E7FCB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11292840" cy="4479059"/>
          </a:xfrm>
        </p:spPr>
        <p:txBody>
          <a:bodyPr/>
          <a:lstStyle>
            <a:lvl1pPr marL="346075" indent="-346075"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514350" indent="-168275">
              <a:defRPr>
                <a:solidFill>
                  <a:schemeClr val="tx1"/>
                </a:solidFill>
              </a:defRPr>
            </a:lvl2pPr>
            <a:lvl3pPr marL="685800" indent="-171450">
              <a:defRPr>
                <a:solidFill>
                  <a:schemeClr val="tx1"/>
                </a:solidFill>
              </a:defRPr>
            </a:lvl3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1459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446518C-C5C5-4D58-B4D2-B85C0BD81B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/>
          <a:srcRect l="15280" b="23627"/>
          <a:stretch/>
        </p:blipFill>
        <p:spPr>
          <a:xfrm>
            <a:off x="0" y="6024563"/>
            <a:ext cx="2112478" cy="83343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098CF84-0D02-4614-8A26-93A1CB865A2B}"/>
              </a:ext>
            </a:extLst>
          </p:cNvPr>
          <p:cNvSpPr/>
          <p:nvPr userDrawn="1"/>
        </p:nvSpPr>
        <p:spPr>
          <a:xfrm>
            <a:off x="0" y="0"/>
            <a:ext cx="327025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773789E-1482-4DF2-AC34-ED595BC86F6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14A8E363-B738-48A5-915F-96EF63027B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9201" y="1802870"/>
            <a:ext cx="11293597" cy="44757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: Bullet, 20pt</a:t>
            </a:r>
          </a:p>
          <a:p>
            <a:pPr lvl="1"/>
            <a:r>
              <a:rPr lang="en-US" dirty="0"/>
              <a:t>Second level: Sub-bullet 1, 18pt</a:t>
            </a:r>
          </a:p>
          <a:p>
            <a:pPr lvl="2"/>
            <a:r>
              <a:rPr lang="en-US" dirty="0"/>
              <a:t>Third level: Sub-bullet 2, 16pt</a:t>
            </a:r>
          </a:p>
          <a:p>
            <a:pPr lvl="3"/>
            <a:r>
              <a:rPr lang="en-US" dirty="0"/>
              <a:t>Fourth level: Heading 1, 28pt</a:t>
            </a:r>
          </a:p>
          <a:p>
            <a:pPr lvl="4"/>
            <a:r>
              <a:rPr lang="en-US" dirty="0"/>
              <a:t>Fifth level: Description 1, 18pt</a:t>
            </a:r>
          </a:p>
          <a:p>
            <a:pPr lvl="5"/>
            <a:r>
              <a:rPr lang="en-US" dirty="0"/>
              <a:t>Sixth level: Heading 2, 22pt</a:t>
            </a:r>
          </a:p>
          <a:p>
            <a:pPr lvl="6"/>
            <a:r>
              <a:rPr lang="en-US" dirty="0"/>
              <a:t>Seventh level: Description 2, 16pt</a:t>
            </a:r>
          </a:p>
          <a:p>
            <a:pPr lvl="7"/>
            <a:r>
              <a:rPr lang="en-US" dirty="0"/>
              <a:t>Eighth level: Stats 1, 36pt</a:t>
            </a:r>
          </a:p>
          <a:p>
            <a:pPr lvl="8"/>
            <a:r>
              <a:rPr lang="en-US" dirty="0"/>
              <a:t>Ninth level: Stats 2, 48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49202" y="372339"/>
            <a:ext cx="11293597" cy="4924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, 32pt</a:t>
            </a:r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CBB5A743-284E-4F77-9C07-20F6113DB3B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BB597971-37D3-4BC0-93F4-2E4A0C596B8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710CFBDD-008A-42F6-B152-7F57EF7924F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B7BE8C-9254-49C6-B935-75CCECC5C1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47297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Optional Titl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3362308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20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41" r:id="rId9"/>
    <p:sldLayoutId id="2147483698" r:id="rId10"/>
    <p:sldLayoutId id="2147483740" r:id="rId11"/>
    <p:sldLayoutId id="2147483735" r:id="rId12"/>
    <p:sldLayoutId id="2147483738" r:id="rId13"/>
    <p:sldLayoutId id="2147483737" r:id="rId14"/>
    <p:sldLayoutId id="2147483732" r:id="rId15"/>
    <p:sldLayoutId id="2147483728" r:id="rId16"/>
    <p:sldLayoutId id="2147483700" r:id="rId17"/>
    <p:sldLayoutId id="2147483729" r:id="rId18"/>
    <p:sldLayoutId id="2147483702" r:id="rId1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65760" indent="-182880" algn="l" defTabSz="914400" rtl="0" eaLnBrk="1" latinLnBrk="0" hangingPunct="1">
        <a:lnSpc>
          <a:spcPct val="10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30352" indent="-164592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600"/>
        </a:spcAft>
        <a:buFont typeface="Arial" panose="020B0604020202020204" pitchFamily="34" charset="0"/>
        <a:buChar char="​"/>
        <a:defRPr sz="2800" b="1" kern="1200" cap="all" spc="6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Font typeface="Arial" panose="020B0604020202020204" pitchFamily="34" charset="0"/>
        <a:buChar char="​"/>
        <a:defRPr lang="en-US" sz="1800" b="0" kern="1200" cap="none" spc="0" baseline="0" dirty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200" b="1" kern="1200" cap="all" spc="60" baseline="0" dirty="0" smtClean="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200"/>
        </a:spcBef>
        <a:spcAft>
          <a:spcPts val="600"/>
        </a:spcAft>
        <a:buFont typeface="Arial" panose="020B0604020202020204" pitchFamily="34" charset="0"/>
        <a:buChar char="​"/>
        <a:defRPr lang="en-US" sz="1600" kern="120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3600" b="1" i="1" kern="1200" dirty="0" smtClean="0">
          <a:solidFill>
            <a:schemeClr val="accent1"/>
          </a:solidFill>
          <a:latin typeface="+mn-lt"/>
          <a:ea typeface="+mn-ea"/>
          <a:cs typeface="+mn-cs"/>
        </a:defRPr>
      </a:lvl8pPr>
      <a:lvl9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4800" b="1" i="1" kern="1200" dirty="0" smtClean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07.png"/><Relationship Id="rId4" Type="http://schemas.openxmlformats.org/officeDocument/2006/relationships/image" Target="../media/image106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6.png"/><Relationship Id="rId4" Type="http://schemas.openxmlformats.org/officeDocument/2006/relationships/image" Target="../media/image1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1.png"/><Relationship Id="rId4" Type="http://schemas.openxmlformats.org/officeDocument/2006/relationships/image" Target="../media/image12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5.png"/><Relationship Id="rId4" Type="http://schemas.openxmlformats.org/officeDocument/2006/relationships/image" Target="../media/image124.pn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0.png"/><Relationship Id="rId4" Type="http://schemas.openxmlformats.org/officeDocument/2006/relationships/image" Target="../media/image129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image" Target="../media/image13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4.png"/><Relationship Id="rId4" Type="http://schemas.openxmlformats.org/officeDocument/2006/relationships/image" Target="../media/image133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9.png"/><Relationship Id="rId4" Type="http://schemas.openxmlformats.org/officeDocument/2006/relationships/image" Target="../media/image138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43.png"/><Relationship Id="rId4" Type="http://schemas.openxmlformats.org/officeDocument/2006/relationships/image" Target="../media/image142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2" Type="http://schemas.openxmlformats.org/officeDocument/2006/relationships/image" Target="../media/image14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48.png"/><Relationship Id="rId4" Type="http://schemas.openxmlformats.org/officeDocument/2006/relationships/image" Target="../media/image147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52.png"/><Relationship Id="rId4" Type="http://schemas.openxmlformats.org/officeDocument/2006/relationships/image" Target="../media/image151.pn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5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png"/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57.png"/><Relationship Id="rId4" Type="http://schemas.openxmlformats.org/officeDocument/2006/relationships/image" Target="../media/image156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png"/><Relationship Id="rId2" Type="http://schemas.openxmlformats.org/officeDocument/2006/relationships/image" Target="../media/image15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61.png"/><Relationship Id="rId4" Type="http://schemas.openxmlformats.org/officeDocument/2006/relationships/image" Target="../media/image160.png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5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png"/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66.png"/><Relationship Id="rId4" Type="http://schemas.openxmlformats.org/officeDocument/2006/relationships/image" Target="../media/image165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image" Target="../media/image167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0.png"/><Relationship Id="rId4" Type="http://schemas.openxmlformats.org/officeDocument/2006/relationships/image" Target="../media/image169.png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5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3.png"/><Relationship Id="rId2" Type="http://schemas.openxmlformats.org/officeDocument/2006/relationships/image" Target="../media/image17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5.png"/><Relationship Id="rId4" Type="http://schemas.openxmlformats.org/officeDocument/2006/relationships/image" Target="../media/image174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png"/><Relationship Id="rId2" Type="http://schemas.openxmlformats.org/officeDocument/2006/relationships/image" Target="../media/image176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9.png"/><Relationship Id="rId4" Type="http://schemas.openxmlformats.org/officeDocument/2006/relationships/image" Target="../media/image178.png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5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png"/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84.png"/><Relationship Id="rId4" Type="http://schemas.openxmlformats.org/officeDocument/2006/relationships/image" Target="../media/image183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6.png"/><Relationship Id="rId2" Type="http://schemas.openxmlformats.org/officeDocument/2006/relationships/image" Target="../media/image18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88.png"/><Relationship Id="rId4" Type="http://schemas.openxmlformats.org/officeDocument/2006/relationships/image" Target="../media/image187.png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9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1.png"/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93.png"/><Relationship Id="rId4" Type="http://schemas.openxmlformats.org/officeDocument/2006/relationships/image" Target="../media/image192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5.png"/><Relationship Id="rId2" Type="http://schemas.openxmlformats.org/officeDocument/2006/relationships/image" Target="../media/image19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97.png"/><Relationship Id="rId4" Type="http://schemas.openxmlformats.org/officeDocument/2006/relationships/image" Target="../media/image196.png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8.png"/><Relationship Id="rId1" Type="http://schemas.openxmlformats.org/officeDocument/2006/relationships/slideLayout" Target="../slideLayouts/slideLayout5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png"/><Relationship Id="rId2" Type="http://schemas.openxmlformats.org/officeDocument/2006/relationships/image" Target="../media/image19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02.png"/><Relationship Id="rId4" Type="http://schemas.openxmlformats.org/officeDocument/2006/relationships/image" Target="../media/image201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image" Target="../media/image20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06.png"/><Relationship Id="rId4" Type="http://schemas.openxmlformats.org/officeDocument/2006/relationships/image" Target="../media/image205.png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7.png"/><Relationship Id="rId1" Type="http://schemas.openxmlformats.org/officeDocument/2006/relationships/slideLayout" Target="../slideLayouts/slideLayout5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8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E2354EF-88AF-4F94-A95E-F46279720F9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Speaker Title / Company Nam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264F6-154F-4FCD-BBB3-C459A3ADE64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YYYY.MM.DD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045F46-8A88-4D88-B390-270E330FCB8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/>
              <a:t>Speaker Nam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514E67-E40F-41CB-9B53-C634BFE3E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XT2 Evaluation</a:t>
            </a:r>
          </a:p>
        </p:txBody>
      </p:sp>
    </p:spTree>
    <p:extLst>
      <p:ext uri="{BB962C8B-B14F-4D97-AF65-F5344CB8AC3E}">
        <p14:creationId xmlns:p14="http://schemas.microsoft.com/office/powerpoint/2010/main" val="37974255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558D061-52C4-4D2C-AF45-D405765110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69116F26-9EB5-4526-A7FD-6F0A13697DC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6D1DE395-5753-49A9-819E-EDC011165F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_TOI=15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77F64099-0D50-4014-B5C2-D0957A85109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814" b="10897"/>
          <a:stretch/>
        </p:blipFill>
        <p:spPr>
          <a:xfrm>
            <a:off x="449201" y="1370283"/>
            <a:ext cx="2938035" cy="2153182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05B9B990-A462-4E22-924E-D2568A442A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303835"/>
            <a:ext cx="10144125" cy="148590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2D17C067-47B7-4AED-8610-D98282E7E7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87237" y="1370282"/>
            <a:ext cx="3441374" cy="191452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4AC018E4-DE09-4818-A36F-A959D5ABA8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19925" y="1514962"/>
            <a:ext cx="2906590" cy="1625163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0DAB3F6C-4394-47AB-B0BF-0BCB9994FE69}"/>
              </a:ext>
            </a:extLst>
          </p:cNvPr>
          <p:cNvSpPr txBox="1"/>
          <p:nvPr/>
        </p:nvSpPr>
        <p:spPr>
          <a:xfrm>
            <a:off x="449201" y="3735683"/>
            <a:ext cx="206749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27.581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44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1168400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BBEBE7D-2489-4965-A4E3-64B7FF5333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25F63D-C67C-40C1-8848-73DD088847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CC58CD4-85F8-40C0-A3F1-F87B660CE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TOI</a:t>
            </a:r>
            <a:r>
              <a:rPr lang="en-US" altLang="zh-CN" dirty="0"/>
              <a:t>=15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EFC256BB-8ADA-4E9E-B323-12F296FA89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2"/>
            <a:ext cx="3166454" cy="1979034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C62A981A-84AA-4437-9F82-7F26AE4E8E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413445"/>
            <a:ext cx="10448925" cy="152400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A92EB0EA-5521-4628-83FC-F5F19B1119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71747" y="1551786"/>
            <a:ext cx="3235936" cy="1785538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158DE376-F8D8-4B83-8509-737E61D73C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48526" y="1511087"/>
            <a:ext cx="3626498" cy="2015071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A77303DE-639B-4062-9761-E848313AC2D5}"/>
              </a:ext>
            </a:extLst>
          </p:cNvPr>
          <p:cNvSpPr txBox="1"/>
          <p:nvPr/>
        </p:nvSpPr>
        <p:spPr>
          <a:xfrm>
            <a:off x="799094" y="3554303"/>
            <a:ext cx="204477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27.651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298dB</a:t>
            </a:r>
            <a:endParaRPr lang="zh-CN" altLang="en-US" dirty="0" err="1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909042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B926970-926D-49D3-ADA4-1F4E6AD249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812FA8CD-C61B-402C-928A-7F8D7EB0746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855F5076-31A4-43B8-9D0A-F7BA420F47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401DCA91-629B-436A-9149-1AF11BE3351E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370282"/>
            <a:ext cx="8045590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0372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F28267F-5ABA-4330-B1D8-B518B54AD0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7BDF201-C600-4DEA-826C-814F1791BE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79CEB599-4B04-4204-A7F4-8D7DAAC6DD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hase Noise Test</a:t>
            </a:r>
            <a:endParaRPr lang="zh-CN" altLang="en-US" dirty="0"/>
          </a:p>
        </p:txBody>
      </p:sp>
      <p:sp>
        <p:nvSpPr>
          <p:cNvPr id="6" name="内容占位符 1">
            <a:extLst>
              <a:ext uri="{FF2B5EF4-FFF2-40B4-BE49-F238E27FC236}">
                <a16:creationId xmlns:a16="http://schemas.microsoft.com/office/drawing/2014/main" id="{303C5B77-8AB6-4CDA-A0FF-B50F7FA92DEA}"/>
              </a:ext>
            </a:extLst>
          </p:cNvPr>
          <p:cNvSpPr txBox="1">
            <a:spLocks/>
          </p:cNvSpPr>
          <p:nvPr/>
        </p:nvSpPr>
        <p:spPr>
          <a:xfrm>
            <a:off x="449201" y="1518511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Phase Noise Change 10dB: </a:t>
            </a:r>
          </a:p>
          <a:p>
            <a:r>
              <a:rPr lang="en-US" altLang="zh-CN" dirty="0"/>
              <a:t>Power out=0dBm                                            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</a:p>
          <a:p>
            <a:r>
              <a:rPr lang="en-US" altLang="zh-CN" dirty="0" err="1"/>
              <a:t>GainImbalance</a:t>
            </a:r>
            <a:r>
              <a:rPr lang="en-US" altLang="zh-CN" dirty="0"/>
              <a:t>=0.002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>
                <a:highlight>
                  <a:srgbClr val="FFFF00"/>
                </a:highlight>
              </a:rPr>
              <a:t>Phase Noise =[100, -87.133, 1000, -96.072, 1e4, -108.607];</a:t>
            </a:r>
          </a:p>
          <a:p>
            <a:r>
              <a:rPr lang="en-US" altLang="zh-CN" dirty="0"/>
              <a:t> </a:t>
            </a:r>
            <a:r>
              <a:rPr lang="en-US" altLang="zh-CN" dirty="0" err="1"/>
              <a:t>PA_TOIout</a:t>
            </a:r>
            <a:r>
              <a:rPr lang="en-US" altLang="zh-CN" dirty="0"/>
              <a:t>=30</a:t>
            </a:r>
            <a:endParaRPr lang="zh-CN" altLang="en-US" dirty="0"/>
          </a:p>
        </p:txBody>
      </p:sp>
      <p:sp>
        <p:nvSpPr>
          <p:cNvPr id="7" name="内容占位符 1">
            <a:extLst>
              <a:ext uri="{FF2B5EF4-FFF2-40B4-BE49-F238E27FC236}">
                <a16:creationId xmlns:a16="http://schemas.microsoft.com/office/drawing/2014/main" id="{5E3BB491-32ED-463E-AD0B-3549733DCE8A}"/>
              </a:ext>
            </a:extLst>
          </p:cNvPr>
          <p:cNvSpPr txBox="1">
            <a:spLocks/>
          </p:cNvSpPr>
          <p:nvPr/>
        </p:nvSpPr>
        <p:spPr>
          <a:xfrm>
            <a:off x="6487434" y="1518511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Phase Noise Change 15dB:                                             </a:t>
            </a:r>
          </a:p>
          <a:p>
            <a:r>
              <a:rPr lang="en-US" altLang="zh-CN" dirty="0"/>
              <a:t>Power out=0dBm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</a:p>
          <a:p>
            <a:r>
              <a:rPr lang="en-US" altLang="zh-CN" dirty="0" err="1"/>
              <a:t>GainImbalance</a:t>
            </a:r>
            <a:r>
              <a:rPr lang="en-US" altLang="zh-CN" dirty="0"/>
              <a:t>=0.002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>
                <a:highlight>
                  <a:srgbClr val="FFFF00"/>
                </a:highlight>
              </a:rPr>
              <a:t>Phase Noise =[100, -82.133, 1000, -91.072, 1e4, -103.607];</a:t>
            </a:r>
          </a:p>
          <a:p>
            <a:r>
              <a:rPr lang="en-US" altLang="zh-CN" dirty="0"/>
              <a:t> </a:t>
            </a:r>
            <a:r>
              <a:rPr lang="en-US" altLang="zh-CN" dirty="0" err="1"/>
              <a:t>PA_TOIout</a:t>
            </a:r>
            <a:r>
              <a:rPr lang="en-US" altLang="zh-CN" dirty="0"/>
              <a:t>=3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312622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F28267F-5ABA-4330-B1D8-B518B54AD0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7BDF201-C600-4DEA-826C-814F1791BE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ional Title of the Present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79CEB599-4B04-4204-A7F4-8D7DAAC6DD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hase Noise Test</a:t>
            </a:r>
            <a:endParaRPr lang="zh-CN" altLang="en-US" dirty="0"/>
          </a:p>
        </p:txBody>
      </p:sp>
      <p:sp>
        <p:nvSpPr>
          <p:cNvPr id="6" name="内容占位符 1">
            <a:extLst>
              <a:ext uri="{FF2B5EF4-FFF2-40B4-BE49-F238E27FC236}">
                <a16:creationId xmlns:a16="http://schemas.microsoft.com/office/drawing/2014/main" id="{303C5B77-8AB6-4CDA-A0FF-B50F7FA92DEA}"/>
              </a:ext>
            </a:extLst>
          </p:cNvPr>
          <p:cNvSpPr txBox="1">
            <a:spLocks/>
          </p:cNvSpPr>
          <p:nvPr/>
        </p:nvSpPr>
        <p:spPr>
          <a:xfrm>
            <a:off x="449201" y="1518511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Phase Noise Change 35dB: 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Power out=0dBm                                            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DAC_Nbits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=14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GainImbalance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=0.002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IQ offset=0.0044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Phase Noise =[100, -62.133, 1000, -71.072, 1e4, -83.607];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 </a:t>
            </a:r>
            <a:r>
              <a:rPr kumimoji="0" lang="en-US" altLang="zh-CN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PA_TOIout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=30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7" name="内容占位符 1">
            <a:extLst>
              <a:ext uri="{FF2B5EF4-FFF2-40B4-BE49-F238E27FC236}">
                <a16:creationId xmlns:a16="http://schemas.microsoft.com/office/drawing/2014/main" id="{5E3BB491-32ED-463E-AD0B-3549733DCE8A}"/>
              </a:ext>
            </a:extLst>
          </p:cNvPr>
          <p:cNvSpPr txBox="1">
            <a:spLocks/>
          </p:cNvSpPr>
          <p:nvPr/>
        </p:nvSpPr>
        <p:spPr>
          <a:xfrm>
            <a:off x="6487434" y="1518511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Phase Noise Change 40dB:                                             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Power out=0dBm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DAC_Nbits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=14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GainImbalance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=0.002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IQ offset=0.0044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Phase Noise =[100, -57.133, 1000, -66.072, 1e4, -78.607];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 </a:t>
            </a:r>
            <a:r>
              <a:rPr kumimoji="0" lang="en-US" altLang="zh-CN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PA_TOIout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=30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25063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735DB0A-B1D7-4871-83DA-CC064D80BE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F888F5AD-8F0B-43DB-82D6-43314F8F89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8AB0C73A-864F-4807-AAAB-D98E0CBFCD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hase Noise Test Compare</a:t>
            </a:r>
            <a:endParaRPr lang="zh-CN" altLang="en-US" dirty="0"/>
          </a:p>
        </p:txBody>
      </p:sp>
      <p:graphicFrame>
        <p:nvGraphicFramePr>
          <p:cNvPr id="6" name="内容占位符 5">
            <a:extLst>
              <a:ext uri="{FF2B5EF4-FFF2-40B4-BE49-F238E27FC236}">
                <a16:creationId xmlns:a16="http://schemas.microsoft.com/office/drawing/2014/main" id="{CF6357BA-BFCA-4E79-8CC9-69D6F4C7F69D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2804694026"/>
              </p:ext>
            </p:extLst>
          </p:nvPr>
        </p:nvGraphicFramePr>
        <p:xfrm>
          <a:off x="449321" y="2003238"/>
          <a:ext cx="10505890" cy="3564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0589">
                  <a:extLst>
                    <a:ext uri="{9D8B030D-6E8A-4147-A177-3AD203B41FA5}">
                      <a16:colId xmlns:a16="http://schemas.microsoft.com/office/drawing/2014/main" val="330016611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16487665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550622899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2798564048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768901539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2886613245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4143579370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845819647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3398723242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669333517"/>
                    </a:ext>
                  </a:extLst>
                </a:gridCol>
              </a:tblGrid>
              <a:tr h="571175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n-US" altLang="zh-CN" dirty="0"/>
                        <a:t>EVM(dB)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n-US" altLang="zh-CN" dirty="0"/>
                        <a:t>1BW_Upper_ACLR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1BW_Lower_ACLR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8383173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Phase</a:t>
                      </a:r>
                    </a:p>
                    <a:p>
                      <a:r>
                        <a:rPr lang="en-US" altLang="zh-CN" dirty="0"/>
                        <a:t>Noise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8967347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-10d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8.2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9.82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1.55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53.883</a:t>
                      </a:r>
                      <a:endParaRPr lang="zh-CN" altLang="en-US" dirty="0"/>
                    </a:p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53.565</a:t>
                      </a:r>
                      <a:endParaRPr lang="zh-CN" altLang="en-US" dirty="0"/>
                    </a:p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31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54.132</a:t>
                      </a:r>
                      <a:endParaRPr lang="zh-CN" altLang="en-US" dirty="0"/>
                    </a:p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5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573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071811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-15d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8.25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8.86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61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86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5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31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4.11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6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55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806598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-35d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4.05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4.85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79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54.04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4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50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4.31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6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749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7048112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-40d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32.34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32.38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04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4.06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2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4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4.36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8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786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3729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3366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C492524-AFCE-437D-AD87-0BCDE914F0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5E22A941-8234-4731-A0B0-82732013E69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FDA1057E-0E31-4D91-AF63-9FA1607F30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 err="1"/>
              <a:t>VXT_PhaseNoise</a:t>
            </a:r>
            <a:r>
              <a:rPr lang="en-US" altLang="zh-CN" sz="2800" dirty="0"/>
              <a:t> =[100, -87.133, 1000, -96.072, 1e5, -108.607]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CC1C9D56-CA73-4E20-BE4D-DBAA285B361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6250" b="10596"/>
          <a:stretch/>
        </p:blipFill>
        <p:spPr>
          <a:xfrm>
            <a:off x="449202" y="1370282"/>
            <a:ext cx="2707969" cy="1924254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DF094EEF-31DB-46CE-8563-3088DB652B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337904"/>
            <a:ext cx="10048875" cy="185737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185E969D-A57B-4E74-BA72-E3F5522E13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08485" y="1370281"/>
            <a:ext cx="3994638" cy="2227779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D0747449-F470-4671-BBA1-8BEF63FFE9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54437" y="1314509"/>
            <a:ext cx="4180009" cy="2319795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5B926790-CDCC-40D9-9BBC-9B73461F0AAA}"/>
              </a:ext>
            </a:extLst>
          </p:cNvPr>
          <p:cNvSpPr txBox="1"/>
          <p:nvPr/>
        </p:nvSpPr>
        <p:spPr>
          <a:xfrm>
            <a:off x="755790" y="3495804"/>
            <a:ext cx="227263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8.27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23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4602023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214C573-2899-4AFE-A844-5D1B4B35E7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1E7E8C5-A3D3-4414-B0C6-6DB70B15CE1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589247FE-15C3-48B8-82FA-61491C84D5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 err="1"/>
              <a:t>Sim_PhaseNoise</a:t>
            </a:r>
            <a:r>
              <a:rPr lang="en-US" altLang="zh-CN" sz="2800" dirty="0"/>
              <a:t> =[100, -87.133, 1000, -96.072, 1e5, -108.607]</a:t>
            </a:r>
            <a:endParaRPr lang="zh-CN" altLang="en-US" sz="2800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0F776354-2EC5-42F2-A7CF-6B1B0350BF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9485"/>
            <a:ext cx="3135997" cy="1591961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5180FA6C-5861-47BC-B915-31C163C35D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0076" y="1379485"/>
            <a:ext cx="3577539" cy="1979924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AE547822-4338-4977-A788-C7DBFC72AF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48942" y="1643401"/>
            <a:ext cx="2602890" cy="1452091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69B465D1-C5AE-46D4-84AD-906678EB6DB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24294"/>
          <a:stretch/>
        </p:blipFill>
        <p:spPr>
          <a:xfrm>
            <a:off x="449201" y="3886554"/>
            <a:ext cx="9798930" cy="2131167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ECF415B1-1E11-4E1F-91DA-8B01F58B3CDA}"/>
              </a:ext>
            </a:extLst>
          </p:cNvPr>
          <p:cNvSpPr txBox="1"/>
          <p:nvPr/>
        </p:nvSpPr>
        <p:spPr>
          <a:xfrm>
            <a:off x="759167" y="3152001"/>
            <a:ext cx="216020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9.824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113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088272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42D33D3-500E-4CB6-86C6-EF196B29DC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D79E7460-D339-408C-B0C5-4153283629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2073DB49-E86A-463D-AE11-95DB59150D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  <p:pic>
        <p:nvPicPr>
          <p:cNvPr id="8" name="内容占位符 7">
            <a:extLst>
              <a:ext uri="{FF2B5EF4-FFF2-40B4-BE49-F238E27FC236}">
                <a16:creationId xmlns:a16="http://schemas.microsoft.com/office/drawing/2014/main" id="{46D67CA7-4A88-4E4A-B716-AFB5E65EF57D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519232"/>
            <a:ext cx="8076499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5836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CDF77D3-3BDB-49C1-8A0A-691626AFEA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7F769CD-B7BF-4183-B5F4-B8543BA02C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D9A7599F-9191-45BC-A6DA-A2D9756B37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 err="1"/>
              <a:t>VXT_PhaseNoise</a:t>
            </a:r>
            <a:r>
              <a:rPr lang="en-US" altLang="zh-CN" sz="2800" dirty="0"/>
              <a:t> =[100, -82.133, 1000, -91.072, 1e5, -103.607]</a:t>
            </a:r>
            <a:endParaRPr lang="zh-CN" altLang="en-US" sz="28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6309481D-6273-4228-A4CA-3BDD3A164C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3924300"/>
            <a:ext cx="10296525" cy="175260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4C5C99AE-4279-4012-905D-E7DC86FE1B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4607" y="1370282"/>
            <a:ext cx="3542856" cy="1966546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04D4C112-EA73-4FD0-BE47-F68D29EBB8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4935" y="1567472"/>
            <a:ext cx="2976929" cy="1654137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D8274204-C57A-4FDA-8E05-4599D150795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8413" b="12255"/>
          <a:stretch/>
        </p:blipFill>
        <p:spPr>
          <a:xfrm>
            <a:off x="449200" y="1428966"/>
            <a:ext cx="2646337" cy="1941574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929B493B-9C37-4FBF-9942-93D82792DBC5}"/>
              </a:ext>
            </a:extLst>
          </p:cNvPr>
          <p:cNvSpPr txBox="1"/>
          <p:nvPr/>
        </p:nvSpPr>
        <p:spPr>
          <a:xfrm>
            <a:off x="656899" y="3392601"/>
            <a:ext cx="249770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8.256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608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3853075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BA52BE-135E-4850-8A33-35FD238578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735951-A22C-4FA9-BB9B-7C1FACD59E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F4414CE-4884-4AFA-928D-6FFCB145B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_TOI Test</a:t>
            </a:r>
          </a:p>
        </p:txBody>
      </p:sp>
      <p:sp>
        <p:nvSpPr>
          <p:cNvPr id="8" name="内容占位符 1">
            <a:extLst>
              <a:ext uri="{FF2B5EF4-FFF2-40B4-BE49-F238E27FC236}">
                <a16:creationId xmlns:a16="http://schemas.microsoft.com/office/drawing/2014/main" id="{6636AF1C-8129-41A9-936B-F97A9DFBEEF0}"/>
              </a:ext>
            </a:extLst>
          </p:cNvPr>
          <p:cNvSpPr txBox="1">
            <a:spLocks/>
          </p:cNvSpPr>
          <p:nvPr/>
        </p:nvSpPr>
        <p:spPr>
          <a:xfrm>
            <a:off x="449201" y="1844436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err="1"/>
              <a:t>PA_TOIout</a:t>
            </a:r>
            <a:r>
              <a:rPr lang="en-US" altLang="zh-CN" dirty="0"/>
              <a:t> Org:                                             </a:t>
            </a:r>
          </a:p>
          <a:p>
            <a:r>
              <a:rPr lang="en-US" altLang="zh-CN" dirty="0"/>
              <a:t>Power out=0dBm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</a:p>
          <a:p>
            <a:r>
              <a:rPr lang="en-US" altLang="zh-CN" dirty="0" err="1"/>
              <a:t>GainImbalance</a:t>
            </a:r>
            <a:r>
              <a:rPr lang="en-US" altLang="zh-CN" dirty="0"/>
              <a:t>=0.002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/>
              <a:t>Phase Noise =[100, -97.133, 1000, -106.072, 1e4, -118.607];</a:t>
            </a:r>
          </a:p>
          <a:p>
            <a:r>
              <a:rPr lang="en-US" altLang="zh-CN" dirty="0"/>
              <a:t> </a:t>
            </a:r>
            <a:r>
              <a:rPr lang="en-US" altLang="zh-CN" dirty="0">
                <a:highlight>
                  <a:srgbClr val="FFFF00"/>
                </a:highlight>
              </a:rPr>
              <a:t>PA_TOI=30</a:t>
            </a:r>
            <a:endParaRPr lang="zh-CN" altLang="en-US" dirty="0">
              <a:highlight>
                <a:srgbClr val="FFFF00"/>
              </a:highlight>
            </a:endParaRPr>
          </a:p>
        </p:txBody>
      </p:sp>
      <p:sp>
        <p:nvSpPr>
          <p:cNvPr id="9" name="内容占位符 1">
            <a:extLst>
              <a:ext uri="{FF2B5EF4-FFF2-40B4-BE49-F238E27FC236}">
                <a16:creationId xmlns:a16="http://schemas.microsoft.com/office/drawing/2014/main" id="{9F222240-E7F1-4DC5-8E12-8A6BA269F254}"/>
              </a:ext>
            </a:extLst>
          </p:cNvPr>
          <p:cNvSpPr txBox="1">
            <a:spLocks/>
          </p:cNvSpPr>
          <p:nvPr/>
        </p:nvSpPr>
        <p:spPr>
          <a:xfrm>
            <a:off x="4345963" y="1844433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err="1"/>
              <a:t>PA_TOIout</a:t>
            </a:r>
            <a:r>
              <a:rPr lang="en-US" altLang="zh-CN" dirty="0"/>
              <a:t> Change 10dB:</a:t>
            </a:r>
          </a:p>
          <a:p>
            <a:r>
              <a:rPr lang="en-US" altLang="zh-CN" dirty="0"/>
              <a:t>Power out=0dBm                                             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</a:p>
          <a:p>
            <a:r>
              <a:rPr lang="en-US" altLang="zh-CN" dirty="0" err="1"/>
              <a:t>GainImbalance</a:t>
            </a:r>
            <a:r>
              <a:rPr lang="en-US" altLang="zh-CN" dirty="0"/>
              <a:t>=0.002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/>
              <a:t>Phase Noise =[100, -97.133, 1000, -106.072, 1e4, -118.607];</a:t>
            </a:r>
          </a:p>
          <a:p>
            <a:r>
              <a:rPr lang="en-US" altLang="zh-CN" dirty="0"/>
              <a:t> </a:t>
            </a:r>
            <a:r>
              <a:rPr lang="en-US" altLang="zh-CN" dirty="0">
                <a:highlight>
                  <a:srgbClr val="FFFF00"/>
                </a:highlight>
              </a:rPr>
              <a:t>PA_TOI=20</a:t>
            </a:r>
            <a:endParaRPr lang="zh-CN" altLang="en-US" dirty="0">
              <a:highlight>
                <a:srgbClr val="FFFF00"/>
              </a:highlight>
            </a:endParaRPr>
          </a:p>
        </p:txBody>
      </p:sp>
      <p:sp>
        <p:nvSpPr>
          <p:cNvPr id="10" name="内容占位符 1">
            <a:extLst>
              <a:ext uri="{FF2B5EF4-FFF2-40B4-BE49-F238E27FC236}">
                <a16:creationId xmlns:a16="http://schemas.microsoft.com/office/drawing/2014/main" id="{F8A45757-7818-4647-885F-8012563E715A}"/>
              </a:ext>
            </a:extLst>
          </p:cNvPr>
          <p:cNvSpPr txBox="1">
            <a:spLocks/>
          </p:cNvSpPr>
          <p:nvPr/>
        </p:nvSpPr>
        <p:spPr>
          <a:xfrm>
            <a:off x="8242725" y="1844434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err="1"/>
              <a:t>PA_TOIout</a:t>
            </a:r>
            <a:r>
              <a:rPr lang="en-US" altLang="zh-CN" dirty="0"/>
              <a:t> Change 15dB:  </a:t>
            </a:r>
          </a:p>
          <a:p>
            <a:r>
              <a:rPr lang="en-US" altLang="zh-CN" dirty="0"/>
              <a:t>Power out=0dBm                                           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</a:p>
          <a:p>
            <a:r>
              <a:rPr lang="en-US" altLang="zh-CN" dirty="0" err="1"/>
              <a:t>GainImbalance</a:t>
            </a:r>
            <a:r>
              <a:rPr lang="en-US" altLang="zh-CN" dirty="0"/>
              <a:t>=0.002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/>
              <a:t>Phase Noise =[100, -97.133, 1000, -106.072, 1e4, -118.607];</a:t>
            </a:r>
          </a:p>
          <a:p>
            <a:r>
              <a:rPr lang="en-US" altLang="zh-CN" dirty="0"/>
              <a:t> </a:t>
            </a:r>
            <a:r>
              <a:rPr lang="en-US" altLang="zh-CN" dirty="0">
                <a:highlight>
                  <a:srgbClr val="FFFF00"/>
                </a:highlight>
              </a:rPr>
              <a:t>PA_TOI=15</a:t>
            </a:r>
            <a:endParaRPr lang="zh-CN" altLang="en-US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930043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A3294A8-D64E-49DD-A361-11207720DE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501213BC-3AA5-453A-9A10-080F1589D3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A0471186-2298-41F0-BAF5-679CB607C9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 err="1"/>
              <a:t>Sim_PhaseNoise</a:t>
            </a:r>
            <a:r>
              <a:rPr lang="en-US" altLang="zh-CN" sz="2800" dirty="0"/>
              <a:t> =[100, -82.133, 1000, -91.072, 1e5, -103.607]</a:t>
            </a:r>
            <a:endParaRPr lang="zh-CN" altLang="en-US" sz="2800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165CC502-71B0-403E-84D9-69B8F9E3304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39" t="9872" r="6357" b="15897"/>
          <a:stretch/>
        </p:blipFill>
        <p:spPr>
          <a:xfrm>
            <a:off x="449201" y="1358870"/>
            <a:ext cx="2930022" cy="150530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0FB523E8-0D74-4461-B66D-57026F12D1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3908620"/>
            <a:ext cx="10448925" cy="202882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223C14C6-6735-45E1-ADA0-D710C26DEA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08118" y="1511552"/>
            <a:ext cx="2687882" cy="1505308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6A7047C5-19F8-42F7-AE6D-A44A3AB65D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43333" y="1461925"/>
            <a:ext cx="3596421" cy="1996968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4C3A579F-9578-40DF-A2AF-3925FBC11B64}"/>
              </a:ext>
            </a:extLst>
          </p:cNvPr>
          <p:cNvSpPr txBox="1"/>
          <p:nvPr/>
        </p:nvSpPr>
        <p:spPr>
          <a:xfrm>
            <a:off x="592516" y="3174661"/>
            <a:ext cx="220101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8.764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085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033747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BD5D37B-AB09-4E1A-A57D-2C03FB030B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54491CC-0DF8-4DA0-83A1-4CE00C7E7BF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51FD9AD0-943F-4CBC-918E-B978412F3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  <p:pic>
        <p:nvPicPr>
          <p:cNvPr id="8" name="内容占位符 7">
            <a:extLst>
              <a:ext uri="{FF2B5EF4-FFF2-40B4-BE49-F238E27FC236}">
                <a16:creationId xmlns:a16="http://schemas.microsoft.com/office/drawing/2014/main" id="{B6A56527-9DEF-4AAB-AE99-D5A8B9158FC9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459107"/>
            <a:ext cx="8052598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2394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C4C48FE-5FFB-4777-A7D3-21DA992E3B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1184C3B-53D4-4977-81DC-43B90D2CC9B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5A223647-BDFA-430F-B87A-50E381961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 err="1"/>
              <a:t>VXT_PhaseNoise</a:t>
            </a:r>
            <a:r>
              <a:rPr lang="en-US" altLang="zh-CN" sz="2800" b="0" dirty="0">
                <a:solidFill>
                  <a:prstClr val="black">
                    <a:lumMod val="85000"/>
                    <a:lumOff val="15000"/>
                  </a:prstClr>
                </a:solidFill>
              </a:rPr>
              <a:t> </a:t>
            </a:r>
            <a:r>
              <a:rPr lang="en-US" altLang="zh-CN" sz="2800" dirty="0">
                <a:solidFill>
                  <a:srgbClr val="C00000"/>
                </a:solidFill>
              </a:rPr>
              <a:t>=[100, -62.133, 1000, -71.072, 1e4, -83.607]</a:t>
            </a:r>
            <a:endParaRPr lang="zh-CN" altLang="en-US" sz="2800" dirty="0">
              <a:solidFill>
                <a:srgbClr val="C00000"/>
              </a:solidFill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98A0A3C-6346-4ED8-931E-8919B5B8A1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44780" y="1314509"/>
            <a:ext cx="2933526" cy="2229926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71F8645E-937D-46FB-817C-235EFF1CCF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9920" y="1370282"/>
            <a:ext cx="2933526" cy="2221469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35CA8E9D-5CED-4E25-9A16-6DECE19F11FC}"/>
              </a:ext>
            </a:extLst>
          </p:cNvPr>
          <p:cNvSpPr txBox="1"/>
          <p:nvPr/>
        </p:nvSpPr>
        <p:spPr>
          <a:xfrm>
            <a:off x="802241" y="3526521"/>
            <a:ext cx="191785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4.057dB</a:t>
            </a:r>
          </a:p>
          <a:p>
            <a:pPr algn="l"/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194dB</a:t>
            </a:r>
            <a:endParaRPr lang="zh-CN" altLang="en-US" dirty="0" err="1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B901BABD-FC2A-4CC7-82FE-504CB6C840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101" y="1446679"/>
            <a:ext cx="3223989" cy="2012409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14C33CD4-3128-4D7B-9296-F1F1AB005B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1980" y="4062605"/>
            <a:ext cx="6705600" cy="1781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0196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F829F1F-2D02-4280-BD21-C7D70B79C0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EDF3741-8A9C-42F4-B9C7-C7358994BB3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E62C31BF-DB63-47CB-B3E1-FE331E22C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 err="1"/>
              <a:t>Sim_PhaseNoise</a:t>
            </a:r>
            <a:r>
              <a:rPr lang="en-US" altLang="zh-CN" sz="2800" b="0" dirty="0">
                <a:solidFill>
                  <a:prstClr val="black">
                    <a:lumMod val="85000"/>
                    <a:lumOff val="15000"/>
                  </a:prstClr>
                </a:solidFill>
              </a:rPr>
              <a:t> </a:t>
            </a:r>
            <a:r>
              <a:rPr lang="en-US" altLang="zh-CN" sz="2800" dirty="0">
                <a:solidFill>
                  <a:srgbClr val="C00000"/>
                </a:solidFill>
              </a:rPr>
              <a:t>=[100, -62.133, 1000, -71.072, 1e4, -83.607]</a:t>
            </a:r>
            <a:endParaRPr lang="zh-CN" altLang="en-US" sz="280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05A7A3C0-3599-4BDA-8A86-B67C6BA624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7663" y="1370282"/>
            <a:ext cx="2729651" cy="2398366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987DF576-A828-49AB-BCA6-1FDEE825BC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79921" y="1370282"/>
            <a:ext cx="3217976" cy="2466841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BECA8981-184E-47F9-83BE-CA0C0D9D3FFD}"/>
              </a:ext>
            </a:extLst>
          </p:cNvPr>
          <p:cNvSpPr txBox="1"/>
          <p:nvPr/>
        </p:nvSpPr>
        <p:spPr>
          <a:xfrm>
            <a:off x="902909" y="3560124"/>
            <a:ext cx="211712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4.852dB</a:t>
            </a:r>
          </a:p>
          <a:p>
            <a:pPr algn="l"/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6.949dB</a:t>
            </a:r>
            <a:endParaRPr lang="zh-CN" altLang="en-US" dirty="0" err="1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3815D952-0152-4D8F-8CB9-2E69C4FA17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7207" y="1405514"/>
            <a:ext cx="3701393" cy="1914411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65ED2C43-D3AA-402C-ABB1-760DBAC3F2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850" y="4393597"/>
            <a:ext cx="6667500" cy="142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1463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37FE893A-A28A-4F95-8510-ABF0F82AB777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370282"/>
            <a:ext cx="5861464" cy="4478338"/>
          </a:xfrm>
          <a:prstGeom prst="rect">
            <a:avLst/>
          </a:prstGeom>
        </p:spPr>
      </p:pic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60AB2CD-DEE6-49E3-B08D-38A1354E33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9200D5B-B230-4C0C-8FB2-C24378FCB7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24A75BA0-2455-4E3D-B3A6-62BA249D1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094261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7335F51-28F8-4101-A433-EBF2534398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DB888A0B-6DD5-464A-A02D-EE8DB9EBD6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A1482901-EFF4-4136-A080-56F139028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 err="1"/>
              <a:t>VXT_PhaseNoise</a:t>
            </a:r>
            <a:r>
              <a:rPr lang="en-US" altLang="zh-CN" sz="2800" dirty="0"/>
              <a:t> = </a:t>
            </a:r>
            <a:r>
              <a:rPr lang="en-US" altLang="zh-CN" sz="2800" dirty="0">
                <a:solidFill>
                  <a:srgbClr val="C00000"/>
                </a:solidFill>
              </a:rPr>
              <a:t>[100, -57.133, 1000, -66.072, 1e4, -78.607]</a:t>
            </a:r>
            <a:endParaRPr lang="zh-CN" altLang="en-US" sz="280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B3CD0645-76DF-4E46-9C1F-EEE9991BF0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6096" y="1422757"/>
            <a:ext cx="3155047" cy="2368272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9AF66A82-987D-4439-B0F8-E5E6960CB0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2991" y="1421935"/>
            <a:ext cx="3148453" cy="2368271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27D6807F-FF53-4734-AB6E-082BAF61F7E6}"/>
              </a:ext>
            </a:extLst>
          </p:cNvPr>
          <p:cNvSpPr txBox="1"/>
          <p:nvPr/>
        </p:nvSpPr>
        <p:spPr>
          <a:xfrm>
            <a:off x="1062299" y="3854150"/>
            <a:ext cx="187384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32.341dB</a:t>
            </a:r>
          </a:p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:46.802dB</a:t>
            </a:r>
            <a:endParaRPr lang="zh-CN" altLang="en-US" dirty="0" err="1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B8DAD564-791D-49E3-A732-633F585F04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341" y="4494864"/>
            <a:ext cx="6858000" cy="1247775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B9C15793-AE4C-40AB-AB7F-DF34C782A7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9202" y="1460725"/>
            <a:ext cx="3593224" cy="2247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0039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DF5CD07-947D-4FC8-A374-6E9E490A8A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B388784-6C14-4CE8-AE68-A3DC8F8CFA1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21FB94AC-99E5-412F-ACBF-FBB850DEF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 err="1"/>
              <a:t>Sim_PhaseNoise</a:t>
            </a:r>
            <a:r>
              <a:rPr lang="en-US" altLang="zh-CN" sz="2800" dirty="0"/>
              <a:t> = </a:t>
            </a:r>
            <a:r>
              <a:rPr lang="en-US" altLang="zh-CN" sz="2800" dirty="0">
                <a:solidFill>
                  <a:srgbClr val="C00000"/>
                </a:solidFill>
              </a:rPr>
              <a:t>[100, -57.133, 1000, -66.072, 1e4, -78.607]</a:t>
            </a:r>
            <a:endParaRPr lang="zh-CN" altLang="en-US" sz="280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D69B556E-23FF-4E65-BA40-8AA326B275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62374" y="1472703"/>
            <a:ext cx="2785713" cy="2090154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B7F76FFA-FEBD-40E7-A535-91BE4C52A3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92636" y="1547021"/>
            <a:ext cx="2537910" cy="1941517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C97B4D74-8B9A-4C44-9454-349EA41A6621}"/>
              </a:ext>
            </a:extLst>
          </p:cNvPr>
          <p:cNvSpPr txBox="1"/>
          <p:nvPr/>
        </p:nvSpPr>
        <p:spPr>
          <a:xfrm>
            <a:off x="928074" y="3801579"/>
            <a:ext cx="19493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32.359dB</a:t>
            </a:r>
          </a:p>
          <a:p>
            <a:pPr algn="l"/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6.343dB</a:t>
            </a:r>
            <a:endParaRPr lang="zh-CN" altLang="en-US" dirty="0" err="1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2FB77725-F646-4B2B-AC3D-91CFB98F6E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201" y="4429896"/>
            <a:ext cx="6705600" cy="130492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9AA2D1B9-0272-497A-8A41-5860A47B77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9062" y="1403315"/>
            <a:ext cx="4193838" cy="2085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4122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541644D9-70FD-4E07-871C-2C9E020889BB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459107"/>
            <a:ext cx="5886243" cy="4478338"/>
          </a:xfrm>
          <a:prstGeom prst="rect">
            <a:avLst/>
          </a:prstGeom>
        </p:spPr>
      </p:pic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24B79AF-24B1-4546-BFBA-3997195AD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F6AA508-A5C5-4FA2-9C07-CAE4454A2C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CFE2FD01-E9CF-4334-A6F3-B861E21A87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349387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BA52BE-135E-4850-8A33-35FD238578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735951-A22C-4FA9-BB9B-7C1FACD59E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F4414CE-4884-4AFA-928D-6FFCB145B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AC_Nbits</a:t>
            </a:r>
            <a:r>
              <a:rPr lang="en-US" dirty="0"/>
              <a:t> Test</a:t>
            </a:r>
          </a:p>
        </p:txBody>
      </p:sp>
      <p:sp>
        <p:nvSpPr>
          <p:cNvPr id="8" name="内容占位符 1">
            <a:extLst>
              <a:ext uri="{FF2B5EF4-FFF2-40B4-BE49-F238E27FC236}">
                <a16:creationId xmlns:a16="http://schemas.microsoft.com/office/drawing/2014/main" id="{FBC48A7C-3B5B-455E-B2A2-45E0BD41A225}"/>
              </a:ext>
            </a:extLst>
          </p:cNvPr>
          <p:cNvSpPr txBox="1">
            <a:spLocks/>
          </p:cNvSpPr>
          <p:nvPr/>
        </p:nvSpPr>
        <p:spPr>
          <a:xfrm>
            <a:off x="449201" y="1712333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err="1"/>
              <a:t>DAC_Nbits</a:t>
            </a:r>
            <a:r>
              <a:rPr lang="en-US" altLang="zh-CN" dirty="0"/>
              <a:t> 14:                                             </a:t>
            </a:r>
          </a:p>
          <a:p>
            <a:r>
              <a:rPr lang="en-US" altLang="zh-CN" dirty="0"/>
              <a:t>Power out=0dBm</a:t>
            </a:r>
          </a:p>
          <a:p>
            <a:r>
              <a:rPr lang="en-US" altLang="zh-CN" dirty="0" err="1">
                <a:highlight>
                  <a:srgbClr val="FFFF00"/>
                </a:highlight>
              </a:rPr>
              <a:t>DAC_Nbits</a:t>
            </a:r>
            <a:r>
              <a:rPr lang="en-US" altLang="zh-CN" dirty="0">
                <a:highlight>
                  <a:srgbClr val="FFFF00"/>
                </a:highlight>
              </a:rPr>
              <a:t>=14</a:t>
            </a:r>
          </a:p>
          <a:p>
            <a:r>
              <a:rPr lang="en-US" altLang="zh-CN" dirty="0" err="1"/>
              <a:t>GainImbalance</a:t>
            </a:r>
            <a:r>
              <a:rPr lang="en-US" altLang="zh-CN" dirty="0"/>
              <a:t>=0.002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/>
              <a:t>Phase Noise =[100, -97.133, 1000, -106.072, 1e4, -118.607];</a:t>
            </a:r>
          </a:p>
          <a:p>
            <a:r>
              <a:rPr lang="en-US" altLang="zh-CN" dirty="0"/>
              <a:t> PA_TOI=30</a:t>
            </a:r>
            <a:endParaRPr lang="zh-CN" altLang="en-US" dirty="0"/>
          </a:p>
        </p:txBody>
      </p:sp>
      <p:sp>
        <p:nvSpPr>
          <p:cNvPr id="9" name="内容占位符 1">
            <a:extLst>
              <a:ext uri="{FF2B5EF4-FFF2-40B4-BE49-F238E27FC236}">
                <a16:creationId xmlns:a16="http://schemas.microsoft.com/office/drawing/2014/main" id="{42E88126-CB59-45F2-B9CE-9C77EC359DA6}"/>
              </a:ext>
            </a:extLst>
          </p:cNvPr>
          <p:cNvSpPr txBox="1">
            <a:spLocks/>
          </p:cNvSpPr>
          <p:nvPr/>
        </p:nvSpPr>
        <p:spPr>
          <a:xfrm>
            <a:off x="4176096" y="1712332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err="1"/>
              <a:t>DAC_Nbits</a:t>
            </a:r>
            <a:r>
              <a:rPr lang="en-US" altLang="zh-CN" dirty="0"/>
              <a:t> Change 12:                                             </a:t>
            </a:r>
          </a:p>
          <a:p>
            <a:r>
              <a:rPr lang="en-US" altLang="zh-CN" dirty="0"/>
              <a:t>Power out=0dBm</a:t>
            </a:r>
          </a:p>
          <a:p>
            <a:r>
              <a:rPr lang="en-US" altLang="zh-CN" dirty="0" err="1">
                <a:highlight>
                  <a:srgbClr val="FFFF00"/>
                </a:highlight>
              </a:rPr>
              <a:t>DAC_Nbits</a:t>
            </a:r>
            <a:r>
              <a:rPr lang="en-US" altLang="zh-CN" dirty="0">
                <a:highlight>
                  <a:srgbClr val="FFFF00"/>
                </a:highlight>
              </a:rPr>
              <a:t>=12</a:t>
            </a:r>
          </a:p>
          <a:p>
            <a:r>
              <a:rPr lang="en-US" altLang="zh-CN" dirty="0" err="1"/>
              <a:t>GainImbalance</a:t>
            </a:r>
            <a:r>
              <a:rPr lang="en-US" altLang="zh-CN" dirty="0"/>
              <a:t>=0.002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/>
              <a:t>Phase Noise =[100, -97.133, 1000, -106.072, 1e4, -118.607];</a:t>
            </a:r>
          </a:p>
          <a:p>
            <a:r>
              <a:rPr lang="en-US" altLang="zh-CN" dirty="0"/>
              <a:t> PA_TOI=30</a:t>
            </a:r>
            <a:endParaRPr lang="zh-CN" altLang="en-US" dirty="0"/>
          </a:p>
        </p:txBody>
      </p:sp>
      <p:sp>
        <p:nvSpPr>
          <p:cNvPr id="10" name="内容占位符 1">
            <a:extLst>
              <a:ext uri="{FF2B5EF4-FFF2-40B4-BE49-F238E27FC236}">
                <a16:creationId xmlns:a16="http://schemas.microsoft.com/office/drawing/2014/main" id="{7013385A-8C67-4F65-BB63-F2FD0EDA37B2}"/>
              </a:ext>
            </a:extLst>
          </p:cNvPr>
          <p:cNvSpPr txBox="1">
            <a:spLocks/>
          </p:cNvSpPr>
          <p:nvPr/>
        </p:nvSpPr>
        <p:spPr>
          <a:xfrm>
            <a:off x="7891604" y="1712331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err="1"/>
              <a:t>DAC_Nbits</a:t>
            </a:r>
            <a:r>
              <a:rPr lang="en-US" altLang="zh-CN" dirty="0"/>
              <a:t> Change 10:                                             </a:t>
            </a:r>
          </a:p>
          <a:p>
            <a:r>
              <a:rPr lang="en-US" altLang="zh-CN" dirty="0"/>
              <a:t>Power out=0dBm</a:t>
            </a:r>
          </a:p>
          <a:p>
            <a:r>
              <a:rPr lang="en-US" altLang="zh-CN" dirty="0" err="1">
                <a:highlight>
                  <a:srgbClr val="FFFF00"/>
                </a:highlight>
              </a:rPr>
              <a:t>DAC_Nbits</a:t>
            </a:r>
            <a:r>
              <a:rPr lang="en-US" altLang="zh-CN" dirty="0">
                <a:highlight>
                  <a:srgbClr val="FFFF00"/>
                </a:highlight>
              </a:rPr>
              <a:t>=10</a:t>
            </a:r>
          </a:p>
          <a:p>
            <a:r>
              <a:rPr lang="en-US" altLang="zh-CN" dirty="0" err="1"/>
              <a:t>GainImbalance</a:t>
            </a:r>
            <a:r>
              <a:rPr lang="en-US" altLang="zh-CN" dirty="0"/>
              <a:t>=0.002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/>
              <a:t>Phase Noise= [100, -97.133, 1000, -106.072, 1e4, -118.607];</a:t>
            </a:r>
          </a:p>
          <a:p>
            <a:r>
              <a:rPr lang="en-US" altLang="zh-CN" dirty="0"/>
              <a:t> PA_TOI=3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922626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0ADA5C8-32C5-4466-BEB8-0A644F285F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6206979F-A244-4A63-8C6C-5A721C9415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62EE113A-1E71-4E68-80C1-706C3370A1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DAC_Nbits</a:t>
            </a:r>
            <a:r>
              <a:rPr lang="en-US" altLang="zh-CN" dirty="0"/>
              <a:t> Test Compare</a:t>
            </a:r>
            <a:endParaRPr lang="zh-CN" altLang="en-US" dirty="0"/>
          </a:p>
        </p:txBody>
      </p:sp>
      <p:graphicFrame>
        <p:nvGraphicFramePr>
          <p:cNvPr id="6" name="内容占位符 5">
            <a:extLst>
              <a:ext uri="{FF2B5EF4-FFF2-40B4-BE49-F238E27FC236}">
                <a16:creationId xmlns:a16="http://schemas.microsoft.com/office/drawing/2014/main" id="{507DE6FA-F5AE-4063-B21B-49DA09D88DF5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3785538800"/>
              </p:ext>
            </p:extLst>
          </p:nvPr>
        </p:nvGraphicFramePr>
        <p:xfrm>
          <a:off x="449201" y="2082369"/>
          <a:ext cx="10505890" cy="29247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0589">
                  <a:extLst>
                    <a:ext uri="{9D8B030D-6E8A-4147-A177-3AD203B41FA5}">
                      <a16:colId xmlns:a16="http://schemas.microsoft.com/office/drawing/2014/main" val="330016611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16487665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550622899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2798564048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768901539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2886613245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4143579370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845819647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3398723242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669333517"/>
                    </a:ext>
                  </a:extLst>
                </a:gridCol>
              </a:tblGrid>
              <a:tr h="571175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n-US" altLang="zh-CN" dirty="0"/>
                        <a:t>EVM(dB)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n-US" altLang="zh-CN" dirty="0"/>
                        <a:t>1BW_Upper_ACLR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1BW_Lower_ACLR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8383173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DAC </a:t>
                      </a:r>
                      <a:r>
                        <a:rPr lang="en-US" altLang="zh-CN" dirty="0" err="1"/>
                        <a:t>Nbits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8967347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1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8.45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9.84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1.38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74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6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1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92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7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347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071811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1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8.43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8.81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37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77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0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22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4.00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0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503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806598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1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8.29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9.20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90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2.50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2.28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21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2.68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2.28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404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77841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29628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内容占位符 5">
            <a:extLst>
              <a:ext uri="{FF2B5EF4-FFF2-40B4-BE49-F238E27FC236}">
                <a16:creationId xmlns:a16="http://schemas.microsoft.com/office/drawing/2014/main" id="{3FBC1822-62FE-450F-9B7C-68028E4C3EF7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408102854"/>
              </p:ext>
            </p:extLst>
          </p:nvPr>
        </p:nvGraphicFramePr>
        <p:xfrm>
          <a:off x="449321" y="2003238"/>
          <a:ext cx="10505890" cy="28558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0589">
                  <a:extLst>
                    <a:ext uri="{9D8B030D-6E8A-4147-A177-3AD203B41FA5}">
                      <a16:colId xmlns:a16="http://schemas.microsoft.com/office/drawing/2014/main" val="330016611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16487665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550622899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2798564048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768901539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2886613245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4143579370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845819647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3398723242"/>
                    </a:ext>
                  </a:extLst>
                </a:gridCol>
                <a:gridCol w="1050589">
                  <a:extLst>
                    <a:ext uri="{9D8B030D-6E8A-4147-A177-3AD203B41FA5}">
                      <a16:colId xmlns:a16="http://schemas.microsoft.com/office/drawing/2014/main" val="669333517"/>
                    </a:ext>
                  </a:extLst>
                </a:gridCol>
              </a:tblGrid>
              <a:tr h="571175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n-US" altLang="zh-CN" dirty="0"/>
                        <a:t>EVM(dB)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n-US" altLang="zh-CN" dirty="0"/>
                        <a:t>1BW_Upper_ACLR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1BW_Lower_ACLR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8383173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PA_TOI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8967347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3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8.45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9.84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1.38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74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6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1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92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7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347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071811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2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37.5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37.97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43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43.94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44.36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42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44.10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44.42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318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806598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1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27.58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27.65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0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34.28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34.4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14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34.45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34.50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045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5701593"/>
                  </a:ext>
                </a:extLst>
              </a:tr>
            </a:tbl>
          </a:graphicData>
        </a:graphic>
      </p:graphicFrame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5C79330-FB42-4831-8D89-93B63B60E9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E3285124-C882-4E07-AACA-6068E1F6577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ABE3B75-C190-438E-A088-4CBC2097BD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A_TOI Test Compar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852249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7F2A779-A76C-4922-A490-41042B7251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DD37B92-FBB3-405B-A863-AD64BBBA9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D41B2808-9111-4F92-82CC-041027F722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XT_DAC_Nbits</a:t>
            </a:r>
            <a:r>
              <a:rPr lang="en-US" altLang="zh-CN" dirty="0"/>
              <a:t>=14</a:t>
            </a:r>
            <a:endParaRPr lang="zh-CN" altLang="en-US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C72CF45A-3084-4AE8-B86C-AA20592A76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4643556"/>
            <a:ext cx="11010900" cy="137160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E51DD240-9A13-4984-AE2E-7F2FC845DC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7477" y="1425479"/>
            <a:ext cx="4454037" cy="2207653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5E87F490-E869-466D-AE6B-35917816FC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26972" y="1530096"/>
            <a:ext cx="4031835" cy="1998418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FFEE9EB7-50F5-4512-8896-23C3C0A8DA6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6250" t="4581" b="11426"/>
          <a:stretch/>
        </p:blipFill>
        <p:spPr>
          <a:xfrm>
            <a:off x="331691" y="1632444"/>
            <a:ext cx="2430328" cy="1622443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E597F86F-F862-4E4B-9029-75C40299FD60}"/>
              </a:ext>
            </a:extLst>
          </p:cNvPr>
          <p:cNvSpPr txBox="1"/>
          <p:nvPr/>
        </p:nvSpPr>
        <p:spPr>
          <a:xfrm>
            <a:off x="815993" y="3528514"/>
            <a:ext cx="228793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8.458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301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  <a:p>
            <a:pPr algn="l"/>
            <a:endParaRPr lang="zh-CN" altLang="en-US" dirty="0" err="1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5862019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67B28BE-D54B-4B70-A1EF-1BB213E289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E894DA05-339D-4665-8299-DE2DDC9D2D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E5A6E48F-A899-475C-952A-3524EBF9B8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im_ </a:t>
            </a:r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A5D1F8A9-DF02-4F8E-96CB-F22D92FAAD7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7227"/>
          <a:stretch/>
        </p:blipFill>
        <p:spPr>
          <a:xfrm>
            <a:off x="449201" y="1370282"/>
            <a:ext cx="3163534" cy="1834311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0E8CEBAB-5A95-41D8-91B5-844294EAA7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570167"/>
            <a:ext cx="10363200" cy="130492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FCE6EDA3-5120-4A1D-BD70-0DCAFB8B44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58699" y="1665538"/>
            <a:ext cx="3554866" cy="1763462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460C6A74-2854-45EC-A4C3-AE8EFA16F4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83379" y="1742169"/>
            <a:ext cx="3424238" cy="1686831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89226E72-F98E-4DF7-B448-0996AAD1707C}"/>
              </a:ext>
            </a:extLst>
          </p:cNvPr>
          <p:cNvSpPr txBox="1"/>
          <p:nvPr/>
        </p:nvSpPr>
        <p:spPr>
          <a:xfrm>
            <a:off x="824260" y="3447257"/>
            <a:ext cx="227127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9.843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106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9529474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2C85A32-4746-474D-A3A7-43DC7B4C79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C29A879-6F1A-4746-814C-9C78DC8102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7028EA73-ED3C-4FDC-9998-53E58C14C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9A98D6AF-7D49-40D3-810D-86502AB61E38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503069"/>
            <a:ext cx="9059353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42569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7542D0A-2DEC-4352-B3B6-C595ADD65D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D0AC434A-4F89-428D-A840-08F0875C6FB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F4B53036-9550-4698-99DF-0870367EB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XT_DAC_Nbits</a:t>
            </a:r>
            <a:r>
              <a:rPr lang="en-US" altLang="zh-CN" dirty="0"/>
              <a:t>=12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96AA6F90-7817-4801-9044-BDB5095C839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6250" b="12255"/>
          <a:stretch/>
        </p:blipFill>
        <p:spPr>
          <a:xfrm>
            <a:off x="449200" y="1370281"/>
            <a:ext cx="2714407" cy="1893035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43F1EC53-8B5C-4A0F-B86A-D5E99F0429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141177"/>
            <a:ext cx="10182225" cy="20574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451CD8F6-5489-44A7-89C3-49A9B5C37A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14321" y="1370282"/>
            <a:ext cx="3749187" cy="2090515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58E26956-3345-43C4-A9E9-D7DE447D36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48525" y="1370282"/>
            <a:ext cx="4190267" cy="2350193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3BCEC037-B39E-4A3B-AA5A-841E37F3BF0B}"/>
              </a:ext>
            </a:extLst>
          </p:cNvPr>
          <p:cNvSpPr txBox="1"/>
          <p:nvPr/>
        </p:nvSpPr>
        <p:spPr>
          <a:xfrm>
            <a:off x="647032" y="3338460"/>
            <a:ext cx="21129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8.434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231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17666864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6C541FD-D662-4020-8F26-A49AEA4687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C8C3AC9-9F16-49FF-BE3F-6A42402978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BD3DE98-55C1-417D-99F0-4846CEAC9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im </a:t>
            </a:r>
            <a:r>
              <a:rPr lang="en-US" altLang="zh-CN" dirty="0" err="1"/>
              <a:t>DAC_Nbits</a:t>
            </a:r>
            <a:r>
              <a:rPr lang="en-US" altLang="zh-CN" dirty="0"/>
              <a:t>=12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41CC9A59-56F2-49EF-BE40-0136B4EE85C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499" t="8333" r="6197" b="15513"/>
          <a:stretch/>
        </p:blipFill>
        <p:spPr>
          <a:xfrm>
            <a:off x="449201" y="1450731"/>
            <a:ext cx="3295784" cy="1737086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8EE6A495-FCAC-439C-B0E8-031983FCE8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0" y="4130983"/>
            <a:ext cx="10506075" cy="203835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D60DC74-8A7F-4E30-A87A-0E434BC6E3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21356" y="1493989"/>
            <a:ext cx="3466165" cy="1923317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84F02696-904A-4316-B39B-44870157D0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95443" y="1366258"/>
            <a:ext cx="3908181" cy="2178777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EE916E83-C7C9-4925-9048-A44228FFC772}"/>
              </a:ext>
            </a:extLst>
          </p:cNvPr>
          <p:cNvSpPr txBox="1"/>
          <p:nvPr/>
        </p:nvSpPr>
        <p:spPr>
          <a:xfrm>
            <a:off x="788376" y="3319788"/>
            <a:ext cx="237427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8.813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094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81104653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2D08D56-A60B-4514-B92D-DD8E8B6AC9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8E224342-FC26-43EE-B393-19628324340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5AE37F12-C0CB-4FB0-BBD7-3AEE7CC610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  <p:pic>
        <p:nvPicPr>
          <p:cNvPr id="8" name="内容占位符 7">
            <a:extLst>
              <a:ext uri="{FF2B5EF4-FFF2-40B4-BE49-F238E27FC236}">
                <a16:creationId xmlns:a16="http://schemas.microsoft.com/office/drawing/2014/main" id="{2F10710B-93A9-4AC3-9545-18EE84700B1D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536742" y="1641734"/>
            <a:ext cx="8076378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81892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1216108-0E9E-4573-B85B-150A519686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C34AF4B-AACB-4D7E-BA57-B3EE19DF0A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0FEC8A86-5028-4BD5-B917-E9A68708EE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XT_DAC_Nbits</a:t>
            </a:r>
            <a:r>
              <a:rPr lang="en-US" altLang="zh-CN" dirty="0"/>
              <a:t>=10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9F69E6F7-239C-4BEC-B912-E514FDF327C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6106" b="8867"/>
          <a:stretch/>
        </p:blipFill>
        <p:spPr>
          <a:xfrm>
            <a:off x="449201" y="1370281"/>
            <a:ext cx="2494384" cy="1800809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9D400B7D-AD20-4E56-ACB5-2F41AAEC18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3927127"/>
            <a:ext cx="10572750" cy="186690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100DB49B-9DB1-4CDD-A1EA-B756FDC77B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00362" y="1373915"/>
            <a:ext cx="3350969" cy="1863267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6AACB9CE-E491-47CE-BF0E-8896742808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28409" y="1473756"/>
            <a:ext cx="2821537" cy="1594566"/>
          </a:xfrm>
          <a:prstGeom prst="rect">
            <a:avLst/>
          </a:prstGeom>
        </p:spPr>
      </p:pic>
      <p:sp>
        <p:nvSpPr>
          <p:cNvPr id="15" name="文本框 1">
            <a:extLst>
              <a:ext uri="{FF2B5EF4-FFF2-40B4-BE49-F238E27FC236}">
                <a16:creationId xmlns:a16="http://schemas.microsoft.com/office/drawing/2014/main" id="{30C0BBCA-F841-49E1-AFD5-77F22C2738CE}"/>
              </a:ext>
            </a:extLst>
          </p:cNvPr>
          <p:cNvSpPr txBox="1"/>
          <p:nvPr/>
        </p:nvSpPr>
        <p:spPr>
          <a:xfrm>
            <a:off x="866291" y="3290501"/>
            <a:ext cx="241380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8.299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494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95872481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1F4995F-A0CC-44DF-8CED-CF19638960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6C50F58-B399-49F4-9B16-4DE3F01274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27C2F492-85BC-4771-B02D-99D55440C7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DAC_Nbits</a:t>
            </a:r>
            <a:r>
              <a:rPr lang="en-US" altLang="zh-CN" dirty="0"/>
              <a:t>=10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6B9ECBA6-D76E-4CEB-88DC-24AC0AB0F6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1"/>
            <a:ext cx="3933520" cy="2090907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5A041EB6-E6D6-4856-8178-265B4EF0E6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203895"/>
            <a:ext cx="10267950" cy="173355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189FFFD-9ADF-4723-9578-1AB39C7334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28718" y="1516684"/>
            <a:ext cx="3134564" cy="173355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AEA3B1B1-B513-4968-9255-152A2A7B15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37968" y="1451929"/>
            <a:ext cx="3904831" cy="2164819"/>
          </a:xfrm>
          <a:prstGeom prst="rect">
            <a:avLst/>
          </a:prstGeom>
        </p:spPr>
      </p:pic>
      <p:sp>
        <p:nvSpPr>
          <p:cNvPr id="15" name="文本框 1">
            <a:extLst>
              <a:ext uri="{FF2B5EF4-FFF2-40B4-BE49-F238E27FC236}">
                <a16:creationId xmlns:a16="http://schemas.microsoft.com/office/drawing/2014/main" id="{30C0BBCA-F841-49E1-AFD5-77F22C2738CE}"/>
              </a:ext>
            </a:extLst>
          </p:cNvPr>
          <p:cNvSpPr txBox="1"/>
          <p:nvPr/>
        </p:nvSpPr>
        <p:spPr>
          <a:xfrm>
            <a:off x="769577" y="3555543"/>
            <a:ext cx="271185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9.204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121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62718500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E3715D4-FE29-4858-857D-74314C14B5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408CD98-4974-4FCD-9843-26316C14487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CCEE7643-36CB-40E8-B912-F9CE2F651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  <p:pic>
        <p:nvPicPr>
          <p:cNvPr id="8" name="内容占位符 7">
            <a:extLst>
              <a:ext uri="{FF2B5EF4-FFF2-40B4-BE49-F238E27FC236}">
                <a16:creationId xmlns:a16="http://schemas.microsoft.com/office/drawing/2014/main" id="{71DE332B-6013-41C4-BFBA-8E69B4BA7347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416870"/>
            <a:ext cx="8051257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33901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2747A46-970A-4FC1-81B1-EA8F9A043D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00DEFF2-44CF-4DA6-8D3D-3D990DE887D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0B018A84-8FBC-46B0-9EC7-1BBBB01159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ain Imbalance Test</a:t>
            </a:r>
            <a:endParaRPr lang="zh-CN" altLang="en-US" dirty="0"/>
          </a:p>
        </p:txBody>
      </p:sp>
      <p:sp>
        <p:nvSpPr>
          <p:cNvPr id="6" name="内容占位符 1">
            <a:extLst>
              <a:ext uri="{FF2B5EF4-FFF2-40B4-BE49-F238E27FC236}">
                <a16:creationId xmlns:a16="http://schemas.microsoft.com/office/drawing/2014/main" id="{D74149E4-876E-4CC4-A8DF-78DBD0E38750}"/>
              </a:ext>
            </a:extLst>
          </p:cNvPr>
          <p:cNvSpPr txBox="1">
            <a:spLocks/>
          </p:cNvSpPr>
          <p:nvPr/>
        </p:nvSpPr>
        <p:spPr>
          <a:xfrm>
            <a:off x="449201" y="1712333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Gain Imbalance Change  x10:                                             </a:t>
            </a:r>
          </a:p>
          <a:p>
            <a:r>
              <a:rPr lang="en-US" altLang="zh-CN" dirty="0"/>
              <a:t>Power out=0dBm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</a:p>
          <a:p>
            <a:r>
              <a:rPr lang="en-US" altLang="zh-CN" dirty="0" err="1">
                <a:highlight>
                  <a:srgbClr val="FFFF00"/>
                </a:highlight>
              </a:rPr>
              <a:t>GainImbalance</a:t>
            </a:r>
            <a:r>
              <a:rPr lang="en-US" altLang="zh-CN" dirty="0">
                <a:highlight>
                  <a:srgbClr val="FFFF00"/>
                </a:highlight>
              </a:rPr>
              <a:t>=0.02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/>
              <a:t>Phase Noise =[100, -97.133, 1000, -106.072, 1e4, -118.607];</a:t>
            </a:r>
          </a:p>
          <a:p>
            <a:r>
              <a:rPr lang="en-US" altLang="zh-CN" dirty="0"/>
              <a:t> PA_TOI=30</a:t>
            </a:r>
            <a:endParaRPr lang="zh-CN" altLang="en-US" dirty="0"/>
          </a:p>
        </p:txBody>
      </p:sp>
      <p:sp>
        <p:nvSpPr>
          <p:cNvPr id="7" name="内容占位符 1">
            <a:extLst>
              <a:ext uri="{FF2B5EF4-FFF2-40B4-BE49-F238E27FC236}">
                <a16:creationId xmlns:a16="http://schemas.microsoft.com/office/drawing/2014/main" id="{8505BB91-A8CC-4DC2-B813-68E7BDD79655}"/>
              </a:ext>
            </a:extLst>
          </p:cNvPr>
          <p:cNvSpPr txBox="1">
            <a:spLocks/>
          </p:cNvSpPr>
          <p:nvPr/>
        </p:nvSpPr>
        <p:spPr>
          <a:xfrm>
            <a:off x="5707755" y="1712332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Gain Imbalance Change  x15:                                             </a:t>
            </a:r>
          </a:p>
          <a:p>
            <a:r>
              <a:rPr lang="en-US" altLang="zh-CN" dirty="0"/>
              <a:t>Power out=0dBm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</a:p>
          <a:p>
            <a:r>
              <a:rPr lang="en-US" altLang="zh-CN" dirty="0" err="1">
                <a:highlight>
                  <a:srgbClr val="FFFF00"/>
                </a:highlight>
              </a:rPr>
              <a:t>GainImbalance</a:t>
            </a:r>
            <a:r>
              <a:rPr lang="en-US" altLang="zh-CN" dirty="0">
                <a:highlight>
                  <a:srgbClr val="FFFF00"/>
                </a:highlight>
              </a:rPr>
              <a:t>=0.03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/>
              <a:t>Phase Noise =[100, -97.133, 1000, -106.072, 1e4, -118.607];</a:t>
            </a:r>
          </a:p>
          <a:p>
            <a:r>
              <a:rPr lang="en-US" altLang="zh-CN" dirty="0"/>
              <a:t> PA_TOI=3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712823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7F2A779-A76C-4922-A490-41042B7251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DD37B92-FBB3-405B-A863-AD64BBBA9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D41B2808-9111-4F92-82CC-041027F72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01" y="286220"/>
            <a:ext cx="11293597" cy="492443"/>
          </a:xfrm>
        </p:spPr>
        <p:txBody>
          <a:bodyPr/>
          <a:lstStyle/>
          <a:p>
            <a:r>
              <a:rPr lang="en-US" altLang="zh-CN" dirty="0"/>
              <a:t>VXT_TOI=30</a:t>
            </a:r>
            <a:endParaRPr lang="zh-CN" altLang="en-US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C72CF45A-3084-4AE8-B86C-AA20592A76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4643556"/>
            <a:ext cx="11010900" cy="137160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E51DD240-9A13-4984-AE2E-7F2FC845DC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2496" y="1419001"/>
            <a:ext cx="4454037" cy="2207653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5E87F490-E869-466D-AE6B-35917816FC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56533" y="1523618"/>
            <a:ext cx="4031835" cy="1998418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2D713F80-FF00-4852-B248-9C68263B531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6250" t="4581" b="11426"/>
          <a:stretch/>
        </p:blipFill>
        <p:spPr>
          <a:xfrm>
            <a:off x="449202" y="1508071"/>
            <a:ext cx="2692090" cy="1797191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B8AB6146-0CFB-462C-BF3F-19F4EADF637E}"/>
              </a:ext>
            </a:extLst>
          </p:cNvPr>
          <p:cNvSpPr txBox="1"/>
          <p:nvPr/>
        </p:nvSpPr>
        <p:spPr>
          <a:xfrm>
            <a:off x="592515" y="3626654"/>
            <a:ext cx="210874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8.458dB</a:t>
            </a:r>
          </a:p>
          <a:p>
            <a:pPr algn="l"/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301dB</a:t>
            </a:r>
            <a:endParaRPr lang="zh-CN" altLang="en-US" dirty="0" err="1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78310545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2747A46-970A-4FC1-81B1-EA8F9A043D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00DEFF2-44CF-4DA6-8D3D-3D990DE887D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ional Title of the Present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0B018A84-8FBC-46B0-9EC7-1BBBB01159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ain Imbalance Test</a:t>
            </a:r>
            <a:endParaRPr lang="zh-CN" altLang="en-US" dirty="0"/>
          </a:p>
        </p:txBody>
      </p:sp>
      <p:sp>
        <p:nvSpPr>
          <p:cNvPr id="6" name="内容占位符 1">
            <a:extLst>
              <a:ext uri="{FF2B5EF4-FFF2-40B4-BE49-F238E27FC236}">
                <a16:creationId xmlns:a16="http://schemas.microsoft.com/office/drawing/2014/main" id="{D74149E4-876E-4CC4-A8DF-78DBD0E38750}"/>
              </a:ext>
            </a:extLst>
          </p:cNvPr>
          <p:cNvSpPr txBox="1">
            <a:spLocks/>
          </p:cNvSpPr>
          <p:nvPr/>
        </p:nvSpPr>
        <p:spPr>
          <a:xfrm>
            <a:off x="449201" y="1712333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Gain Imbalance Change  x10:                                             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Power out=0dBm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DAC_Nbits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=14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GainImbalance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=0.1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IQ offset=0.0044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Phase Noise =[100, -97.133, 1000, -106.072, 1e4, -118.607];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 PA_TOI=30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7" name="内容占位符 1">
            <a:extLst>
              <a:ext uri="{FF2B5EF4-FFF2-40B4-BE49-F238E27FC236}">
                <a16:creationId xmlns:a16="http://schemas.microsoft.com/office/drawing/2014/main" id="{8505BB91-A8CC-4DC2-B813-68E7BDD79655}"/>
              </a:ext>
            </a:extLst>
          </p:cNvPr>
          <p:cNvSpPr txBox="1">
            <a:spLocks/>
          </p:cNvSpPr>
          <p:nvPr/>
        </p:nvSpPr>
        <p:spPr>
          <a:xfrm>
            <a:off x="5707755" y="1712332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Gain Imbalance Change  x15:                                             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Power out=0dBm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DAC_Nbits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=14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GainImbalance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=0.3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IQ offset=0.0044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Phase Noise =[100, -97.133, 1000, -106.072, 1e4, -118.607];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 PA_TOI=30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376721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06F9499-26B9-4317-8ADE-15AA0C1558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615CF8D6-18A0-45F4-AF89-79E810B9F3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524F55BF-1620-4CD3-A17A-267628B4E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ain Imbalance Test Compare</a:t>
            </a:r>
            <a:endParaRPr lang="zh-CN" altLang="en-US" dirty="0"/>
          </a:p>
        </p:txBody>
      </p:sp>
      <p:graphicFrame>
        <p:nvGraphicFramePr>
          <p:cNvPr id="6" name="内容占位符 5">
            <a:extLst>
              <a:ext uri="{FF2B5EF4-FFF2-40B4-BE49-F238E27FC236}">
                <a16:creationId xmlns:a16="http://schemas.microsoft.com/office/drawing/2014/main" id="{23C38941-EE3E-4E19-A46A-0D5D28717EC0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3168816244"/>
              </p:ext>
            </p:extLst>
          </p:nvPr>
        </p:nvGraphicFramePr>
        <p:xfrm>
          <a:off x="310717" y="2003238"/>
          <a:ext cx="11601649" cy="34959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2394">
                  <a:extLst>
                    <a:ext uri="{9D8B030D-6E8A-4147-A177-3AD203B41FA5}">
                      <a16:colId xmlns:a16="http://schemas.microsoft.com/office/drawing/2014/main" val="330016611"/>
                    </a:ext>
                  </a:extLst>
                </a:gridCol>
                <a:gridCol w="977935">
                  <a:extLst>
                    <a:ext uri="{9D8B030D-6E8A-4147-A177-3AD203B41FA5}">
                      <a16:colId xmlns:a16="http://schemas.microsoft.com/office/drawing/2014/main" val="16487665"/>
                    </a:ext>
                  </a:extLst>
                </a:gridCol>
                <a:gridCol w="1160165">
                  <a:extLst>
                    <a:ext uri="{9D8B030D-6E8A-4147-A177-3AD203B41FA5}">
                      <a16:colId xmlns:a16="http://schemas.microsoft.com/office/drawing/2014/main" val="550622899"/>
                    </a:ext>
                  </a:extLst>
                </a:gridCol>
                <a:gridCol w="1160165">
                  <a:extLst>
                    <a:ext uri="{9D8B030D-6E8A-4147-A177-3AD203B41FA5}">
                      <a16:colId xmlns:a16="http://schemas.microsoft.com/office/drawing/2014/main" val="2798564048"/>
                    </a:ext>
                  </a:extLst>
                </a:gridCol>
                <a:gridCol w="1160165">
                  <a:extLst>
                    <a:ext uri="{9D8B030D-6E8A-4147-A177-3AD203B41FA5}">
                      <a16:colId xmlns:a16="http://schemas.microsoft.com/office/drawing/2014/main" val="768901539"/>
                    </a:ext>
                  </a:extLst>
                </a:gridCol>
                <a:gridCol w="1160165">
                  <a:extLst>
                    <a:ext uri="{9D8B030D-6E8A-4147-A177-3AD203B41FA5}">
                      <a16:colId xmlns:a16="http://schemas.microsoft.com/office/drawing/2014/main" val="2886613245"/>
                    </a:ext>
                  </a:extLst>
                </a:gridCol>
                <a:gridCol w="1160165">
                  <a:extLst>
                    <a:ext uri="{9D8B030D-6E8A-4147-A177-3AD203B41FA5}">
                      <a16:colId xmlns:a16="http://schemas.microsoft.com/office/drawing/2014/main" val="4143579370"/>
                    </a:ext>
                  </a:extLst>
                </a:gridCol>
                <a:gridCol w="1160165">
                  <a:extLst>
                    <a:ext uri="{9D8B030D-6E8A-4147-A177-3AD203B41FA5}">
                      <a16:colId xmlns:a16="http://schemas.microsoft.com/office/drawing/2014/main" val="845819647"/>
                    </a:ext>
                  </a:extLst>
                </a:gridCol>
                <a:gridCol w="1160165">
                  <a:extLst>
                    <a:ext uri="{9D8B030D-6E8A-4147-A177-3AD203B41FA5}">
                      <a16:colId xmlns:a16="http://schemas.microsoft.com/office/drawing/2014/main" val="3398723242"/>
                    </a:ext>
                  </a:extLst>
                </a:gridCol>
                <a:gridCol w="1160165">
                  <a:extLst>
                    <a:ext uri="{9D8B030D-6E8A-4147-A177-3AD203B41FA5}">
                      <a16:colId xmlns:a16="http://schemas.microsoft.com/office/drawing/2014/main" val="669333517"/>
                    </a:ext>
                  </a:extLst>
                </a:gridCol>
              </a:tblGrid>
              <a:tr h="571175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n-US" altLang="zh-CN" dirty="0"/>
                        <a:t>EVM(dB)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n-US" altLang="zh-CN" dirty="0"/>
                        <a:t>1BW_Upper_ACLR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1BW_Lower_ACLR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8383173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Gain Imbalance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8967347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0.0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8.32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9.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87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87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8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29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4.13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7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559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071811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0.0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7.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8.26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76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89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6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33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4.10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9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513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806598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0.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2.37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3.16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79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4.04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9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45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4.30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8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717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7362418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0.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34.54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34.74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20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4.07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6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50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4.30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718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57149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366432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8CD2C70-C708-45D2-8C93-F8ADEDD17F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42C1FB3-2548-471E-B7AB-67CF8ED5D7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5BC94939-FD58-4E35-821F-0C682D645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01" y="271673"/>
            <a:ext cx="11293597" cy="492443"/>
          </a:xfrm>
        </p:spPr>
        <p:txBody>
          <a:bodyPr/>
          <a:lstStyle/>
          <a:p>
            <a:r>
              <a:rPr lang="en-US" altLang="zh-CN" dirty="0" err="1"/>
              <a:t>VXT_GainImbalance</a:t>
            </a:r>
            <a:r>
              <a:rPr lang="en-US" altLang="zh-CN" dirty="0"/>
              <a:t>=0.02</a:t>
            </a:r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26D34430-1028-40B2-88EB-D01E99B1EA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4102095"/>
            <a:ext cx="10029825" cy="1895475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6480BA21-2E9F-4CA5-ABC4-4D1D72D043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7046" y="1370282"/>
            <a:ext cx="3876966" cy="2125647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7DFFAD56-9D30-4E41-8922-9CC9619E20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16415" y="1436792"/>
            <a:ext cx="3515927" cy="1957732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6F3794FC-29CF-4D9F-924C-CB031FA024B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6322" b="10767"/>
          <a:stretch/>
        </p:blipFill>
        <p:spPr>
          <a:xfrm>
            <a:off x="449200" y="1457163"/>
            <a:ext cx="2775655" cy="1971837"/>
          </a:xfrm>
          <a:prstGeom prst="rect">
            <a:avLst/>
          </a:prstGeom>
        </p:spPr>
      </p:pic>
      <p:sp>
        <p:nvSpPr>
          <p:cNvPr id="16" name="文本框 1">
            <a:extLst>
              <a:ext uri="{FF2B5EF4-FFF2-40B4-BE49-F238E27FC236}">
                <a16:creationId xmlns:a16="http://schemas.microsoft.com/office/drawing/2014/main" id="{30C0BBCA-F841-49E1-AFD5-77F22C2738CE}"/>
              </a:ext>
            </a:extLst>
          </p:cNvPr>
          <p:cNvSpPr txBox="1"/>
          <p:nvPr/>
        </p:nvSpPr>
        <p:spPr>
          <a:xfrm>
            <a:off x="822735" y="3513868"/>
            <a:ext cx="233152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8.323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442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63894583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1A6DD5C-0AC1-4904-ABEB-25CD85EAC3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EF2CD95-8D6F-4DC8-9AE0-B1B3F3C57E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A4DF9BF2-7B67-43BD-A313-B75950865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GainImbalance</a:t>
            </a:r>
            <a:r>
              <a:rPr lang="en-US" altLang="zh-CN" dirty="0"/>
              <a:t>=0.02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3541D8E-0785-46FD-9675-437A5A7020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13" y="4218447"/>
            <a:ext cx="10344150" cy="222885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EE7A0185-7BD2-4C0A-A8D1-5733B0F27F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6224" y="1330569"/>
            <a:ext cx="3777176" cy="2098431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7A55EC5F-FFEA-442E-A70C-150FCDBAFF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09286" y="1461440"/>
            <a:ext cx="2907398" cy="162784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11775144-8F89-490E-916C-DBB14B5AF0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213" y="1407781"/>
            <a:ext cx="3777177" cy="1962894"/>
          </a:xfrm>
          <a:prstGeom prst="rect">
            <a:avLst/>
          </a:prstGeom>
        </p:spPr>
      </p:pic>
      <p:sp>
        <p:nvSpPr>
          <p:cNvPr id="15" name="文本框 1">
            <a:extLst>
              <a:ext uri="{FF2B5EF4-FFF2-40B4-BE49-F238E27FC236}">
                <a16:creationId xmlns:a16="http://schemas.microsoft.com/office/drawing/2014/main" id="{30C0BBCA-F841-49E1-AFD5-77F22C2738CE}"/>
              </a:ext>
            </a:extLst>
          </p:cNvPr>
          <p:cNvSpPr txBox="1"/>
          <p:nvPr/>
        </p:nvSpPr>
        <p:spPr>
          <a:xfrm>
            <a:off x="1042139" y="3491721"/>
            <a:ext cx="240573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9.2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144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99488243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3F8D65D-4903-440F-A52C-6F2C2C4FC6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F2205265-9E83-4CD8-9F84-12359B7F01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780C93FE-E2C7-492B-B96B-9756E0E6E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  <p:pic>
        <p:nvPicPr>
          <p:cNvPr id="8" name="内容占位符 7">
            <a:extLst>
              <a:ext uri="{FF2B5EF4-FFF2-40B4-BE49-F238E27FC236}">
                <a16:creationId xmlns:a16="http://schemas.microsoft.com/office/drawing/2014/main" id="{3802F3F3-BE15-4332-995B-CBA1E6A7E868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416870"/>
            <a:ext cx="8059606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04701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09C1277-FECD-40F8-B862-AFB4FCE84B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6D5A36F5-0D2C-408F-AEF5-90D58D0DE2B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F58D47C-F4B1-434A-8B67-D0FC671EF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XT_GainImblance</a:t>
            </a:r>
            <a:r>
              <a:rPr lang="en-US" altLang="zh-CN" dirty="0"/>
              <a:t>=0.03</a:t>
            </a:r>
            <a:endParaRPr lang="zh-CN" altLang="en-US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6B587DA2-C438-46BA-A6D0-7D1B4427939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6466" r="1923" b="12255"/>
          <a:stretch/>
        </p:blipFill>
        <p:spPr>
          <a:xfrm>
            <a:off x="449201" y="1432346"/>
            <a:ext cx="2696671" cy="1977361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D13107EC-F0D7-48B9-BD41-E57CF67E46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193688"/>
            <a:ext cx="10067925" cy="2095500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AE54BDDC-F013-4456-8163-95BE8175C8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51321" y="1397897"/>
            <a:ext cx="3292851" cy="1830631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7726348F-75CF-40C9-8047-11DFFFF844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49258" y="1370282"/>
            <a:ext cx="3960935" cy="2197836"/>
          </a:xfrm>
          <a:prstGeom prst="rect">
            <a:avLst/>
          </a:prstGeom>
        </p:spPr>
      </p:pic>
      <p:sp>
        <p:nvSpPr>
          <p:cNvPr id="19" name="文本框 1">
            <a:extLst>
              <a:ext uri="{FF2B5EF4-FFF2-40B4-BE49-F238E27FC236}">
                <a16:creationId xmlns:a16="http://schemas.microsoft.com/office/drawing/2014/main" id="{30C0BBCA-F841-49E1-AFD5-77F22C2738CE}"/>
              </a:ext>
            </a:extLst>
          </p:cNvPr>
          <p:cNvSpPr txBox="1"/>
          <p:nvPr/>
        </p:nvSpPr>
        <p:spPr>
          <a:xfrm>
            <a:off x="981807" y="3399906"/>
            <a:ext cx="233184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7.5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344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20820781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866B119-3383-4D93-8937-9D25EB615C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8094869E-9EC6-48C3-8D40-0F543D7049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01C4B4A-5820-4C75-9585-BB8D18C13B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GainImblance</a:t>
            </a:r>
            <a:r>
              <a:rPr lang="en-US" altLang="zh-CN" dirty="0"/>
              <a:t>=0.03</a:t>
            </a:r>
            <a:endParaRPr lang="zh-CN" altLang="en-US" dirty="0"/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97FB5408-6D63-4005-8B8B-C851734796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96772"/>
            <a:ext cx="3779843" cy="2032228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A16C5051-3408-442E-B540-0E7227DC40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9072" y="1438256"/>
            <a:ext cx="4114800" cy="2299131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18970A33-9D39-4F5E-87D8-7F30873973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13872" y="1542613"/>
            <a:ext cx="3728671" cy="2090415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F5785B53-C594-43FB-9CBE-2338E7913E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9201" y="4415218"/>
            <a:ext cx="10210800" cy="2133600"/>
          </a:xfrm>
          <a:prstGeom prst="rect">
            <a:avLst/>
          </a:prstGeom>
        </p:spPr>
      </p:pic>
      <p:sp>
        <p:nvSpPr>
          <p:cNvPr id="18" name="文本框 1">
            <a:extLst>
              <a:ext uri="{FF2B5EF4-FFF2-40B4-BE49-F238E27FC236}">
                <a16:creationId xmlns:a16="http://schemas.microsoft.com/office/drawing/2014/main" id="{30C0BBCA-F841-49E1-AFD5-77F22C2738CE}"/>
              </a:ext>
            </a:extLst>
          </p:cNvPr>
          <p:cNvSpPr txBox="1"/>
          <p:nvPr/>
        </p:nvSpPr>
        <p:spPr>
          <a:xfrm>
            <a:off x="1496775" y="3578220"/>
            <a:ext cx="198465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8.261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139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17536861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102D7EE-34D5-4A2C-ACC9-2BF1F08B9E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E60072B2-337C-4926-8A92-C708C76A8AD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65D7B8CD-765C-475C-9CFD-7621D27439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  <p:pic>
        <p:nvPicPr>
          <p:cNvPr id="11" name="内容占位符 10">
            <a:extLst>
              <a:ext uri="{FF2B5EF4-FFF2-40B4-BE49-F238E27FC236}">
                <a16:creationId xmlns:a16="http://schemas.microsoft.com/office/drawing/2014/main" id="{2ABCF5CE-29A5-4BDD-9E5B-D17F1169101E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459107"/>
            <a:ext cx="8033018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50326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9E9EFD2-819B-4D53-B428-F11C1F4389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A46716E-7E33-4230-A7A0-67EDC695D4E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05A3A695-E44C-4805-865C-8792E2600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XT_GainImbalance</a:t>
            </a:r>
            <a:r>
              <a:rPr lang="en-US" altLang="zh-CN" dirty="0"/>
              <a:t>=0.1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12C867B-0B23-449A-BC7B-B4F66904CF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400405"/>
            <a:ext cx="3370664" cy="2169747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3654037-4157-4A85-BF02-0BFBA148D8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532280"/>
            <a:ext cx="6762750" cy="139065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A70F86ED-344D-44ED-A5A5-0E056AD1A0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0576" y="1370282"/>
            <a:ext cx="3500351" cy="2657427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2B3E7724-D219-4733-ADC0-522833D5A4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7477" y="1548730"/>
            <a:ext cx="3242022" cy="2459182"/>
          </a:xfrm>
          <a:prstGeom prst="rect">
            <a:avLst/>
          </a:prstGeom>
        </p:spPr>
      </p:pic>
      <p:sp>
        <p:nvSpPr>
          <p:cNvPr id="11" name="文本框 1">
            <a:extLst>
              <a:ext uri="{FF2B5EF4-FFF2-40B4-BE49-F238E27FC236}">
                <a16:creationId xmlns:a16="http://schemas.microsoft.com/office/drawing/2014/main" id="{C99B7E45-2DA9-4BA8-9B12-1007D818A803}"/>
              </a:ext>
            </a:extLst>
          </p:cNvPr>
          <p:cNvSpPr txBox="1"/>
          <p:nvPr/>
        </p:nvSpPr>
        <p:spPr>
          <a:xfrm>
            <a:off x="1194772" y="3774217"/>
            <a:ext cx="253925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2.374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161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450507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8032F05-A745-4B38-9163-B38EBCBF7F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D4077B5-305F-4840-BC0D-77E5EE812F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AF1C3E18-8826-4022-8156-CD5351A14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GainImbalance</a:t>
            </a:r>
            <a:r>
              <a:rPr lang="en-US" altLang="zh-CN" dirty="0"/>
              <a:t>=0.1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07BB884-B97D-4603-AE64-96B6DF21CF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2" y="1434518"/>
            <a:ext cx="3117498" cy="156874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43B61924-4EF0-4C03-B606-198C689EDF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073860"/>
            <a:ext cx="6810375" cy="1495425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C3CE9271-C110-4B23-80D6-C2D9B5A4E7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42307" y="1355135"/>
            <a:ext cx="3537956" cy="2678098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B9B6D586-4F93-40EB-8F3C-9A05E1264D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62707" y="1520121"/>
            <a:ext cx="3122013" cy="2381331"/>
          </a:xfrm>
          <a:prstGeom prst="rect">
            <a:avLst/>
          </a:prstGeom>
        </p:spPr>
      </p:pic>
      <p:sp>
        <p:nvSpPr>
          <p:cNvPr id="10" name="文本框 1">
            <a:extLst>
              <a:ext uri="{FF2B5EF4-FFF2-40B4-BE49-F238E27FC236}">
                <a16:creationId xmlns:a16="http://schemas.microsoft.com/office/drawing/2014/main" id="{D9337A0C-8711-40FE-ACC8-952D97656EF8}"/>
              </a:ext>
            </a:extLst>
          </p:cNvPr>
          <p:cNvSpPr txBox="1"/>
          <p:nvPr/>
        </p:nvSpPr>
        <p:spPr>
          <a:xfrm>
            <a:off x="1079721" y="3218918"/>
            <a:ext cx="228014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3.165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16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689665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67B28BE-D54B-4B70-A1EF-1BB213E289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E894DA05-339D-4665-8299-DE2DDC9D2D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E5A6E48F-A899-475C-952A-3524EBF9B8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TOI</a:t>
            </a:r>
            <a:r>
              <a:rPr lang="en-US" altLang="zh-CN" dirty="0"/>
              <a:t>=30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A5D1F8A9-DF02-4F8E-96CB-F22D92FAAD7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012"/>
          <a:stretch/>
        </p:blipFill>
        <p:spPr>
          <a:xfrm>
            <a:off x="449201" y="1370283"/>
            <a:ext cx="3132121" cy="1859478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0E8CEBAB-5A95-41D8-91B5-844294EAA7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570167"/>
            <a:ext cx="10363200" cy="130492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FCE6EDA3-5120-4A1D-BD70-0DCAFB8B44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58699" y="1665538"/>
            <a:ext cx="3554866" cy="1763462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460C6A74-2854-45EC-A4C3-AE8EFA16F4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83379" y="1742169"/>
            <a:ext cx="3424238" cy="1686831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46A3DDCE-8E2E-4EF5-9515-0E213C315518}"/>
              </a:ext>
            </a:extLst>
          </p:cNvPr>
          <p:cNvSpPr txBox="1"/>
          <p:nvPr/>
        </p:nvSpPr>
        <p:spPr>
          <a:xfrm>
            <a:off x="740372" y="3445586"/>
            <a:ext cx="210349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9.843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106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4696748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03AB495A-E182-4A48-AA92-85F86C31394B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113942"/>
            <a:ext cx="6647885" cy="5126183"/>
          </a:xfrm>
          <a:prstGeom prst="rect">
            <a:avLst/>
          </a:prstGeom>
        </p:spPr>
      </p:pic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5CF10A5-45B2-4AA5-9583-1E69A8F420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79E9CD4-BB0C-498E-8308-523E7C75AC0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5305A284-D423-4058-9973-34603AC9A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882617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FD992DD-D87D-4D42-BBA1-3002C0DD14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CA9D6F1-CBC1-4DBF-B299-891670E767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57C00645-BC92-473B-876F-8EF2F72EA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XT_GainImbalance</a:t>
            </a:r>
            <a:r>
              <a:rPr lang="en-US" altLang="zh-CN" dirty="0"/>
              <a:t>=0.3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6BF6501-5F52-4F18-87B6-A8EB66C204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439765"/>
            <a:ext cx="3818273" cy="2377646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175ADC0-97D8-49B7-94D1-186BF4CAAE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660131"/>
            <a:ext cx="6457950" cy="137160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A478CDD0-37D4-43A5-87C8-DA0A6CB0B2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4072" y="1512069"/>
            <a:ext cx="2764959" cy="2368833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C90A014A-7D57-4F94-BDFF-8DBBD05CE2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67538" y="1439765"/>
            <a:ext cx="2997781" cy="2542152"/>
          </a:xfrm>
          <a:prstGeom prst="rect">
            <a:avLst/>
          </a:prstGeom>
        </p:spPr>
      </p:pic>
      <p:sp>
        <p:nvSpPr>
          <p:cNvPr id="10" name="文本框 1">
            <a:extLst>
              <a:ext uri="{FF2B5EF4-FFF2-40B4-BE49-F238E27FC236}">
                <a16:creationId xmlns:a16="http://schemas.microsoft.com/office/drawing/2014/main" id="{3AAE3C52-20BC-4C42-B0FF-3EE36C051F24}"/>
              </a:ext>
            </a:extLst>
          </p:cNvPr>
          <p:cNvSpPr txBox="1"/>
          <p:nvPr/>
        </p:nvSpPr>
        <p:spPr>
          <a:xfrm>
            <a:off x="1345278" y="3817411"/>
            <a:ext cx="21445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34.544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223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1691358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9018DE7-4615-4C9D-8709-F704A05687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802A8286-9D9B-427B-BD1B-A3EB6EA0A3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B4FABF7-BCDD-42EE-8F11-9444C57B7A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GainImbalance</a:t>
            </a:r>
            <a:r>
              <a:rPr lang="en-US" altLang="zh-CN" dirty="0"/>
              <a:t>=0.3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1BB56B31-AEE9-4D24-9323-280247DEDA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2" y="1371271"/>
            <a:ext cx="3471036" cy="2057729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B2A820E7-3DAC-4FFF-95F6-179F63ECE0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465806"/>
            <a:ext cx="6677025" cy="1666875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185270DF-59AF-4686-B08E-607024C6EB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1874" y="1442997"/>
            <a:ext cx="2631871" cy="2248369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2C2FFA63-C219-4C7E-A00B-E3E6E83E63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8554" y="1442997"/>
            <a:ext cx="3864833" cy="3268982"/>
          </a:xfrm>
          <a:prstGeom prst="rect">
            <a:avLst/>
          </a:prstGeom>
        </p:spPr>
      </p:pic>
      <p:sp>
        <p:nvSpPr>
          <p:cNvPr id="10" name="文本框 1">
            <a:extLst>
              <a:ext uri="{FF2B5EF4-FFF2-40B4-BE49-F238E27FC236}">
                <a16:creationId xmlns:a16="http://schemas.microsoft.com/office/drawing/2014/main" id="{55E42826-1F5E-4462-89D1-2A1E932913D2}"/>
              </a:ext>
            </a:extLst>
          </p:cNvPr>
          <p:cNvSpPr txBox="1"/>
          <p:nvPr/>
        </p:nvSpPr>
        <p:spPr>
          <a:xfrm>
            <a:off x="1037431" y="3603903"/>
            <a:ext cx="220910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34.746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117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07904260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1046A9A4-1703-478B-AEFF-C7B10A8F59A5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459107"/>
            <a:ext cx="5303492" cy="4478338"/>
          </a:xfrm>
          <a:prstGeom prst="rect">
            <a:avLst/>
          </a:prstGeom>
        </p:spPr>
      </p:pic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4714DCD-4EA0-497F-B9AE-761653DEA1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F640495-8256-4894-9DFE-7FCEF83E3A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A93AD296-CEFC-4DEE-83A2-C80D028C4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7392605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2232322-B07C-44A6-BD7B-3AFD8BB1A8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56DF92C9-EAB6-4963-A5BD-140FF35803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6AF47B60-F94A-4AEE-8A9B-64A37135C2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IQoffset</a:t>
            </a:r>
            <a:r>
              <a:rPr lang="en-US" altLang="zh-CN" dirty="0"/>
              <a:t> Test</a:t>
            </a:r>
            <a:endParaRPr lang="zh-CN" altLang="en-US" dirty="0"/>
          </a:p>
        </p:txBody>
      </p:sp>
      <p:sp>
        <p:nvSpPr>
          <p:cNvPr id="6" name="内容占位符 1">
            <a:extLst>
              <a:ext uri="{FF2B5EF4-FFF2-40B4-BE49-F238E27FC236}">
                <a16:creationId xmlns:a16="http://schemas.microsoft.com/office/drawing/2014/main" id="{748668FE-7225-414F-8AE0-2C1246968887}"/>
              </a:ext>
            </a:extLst>
          </p:cNvPr>
          <p:cNvSpPr txBox="1">
            <a:spLocks/>
          </p:cNvSpPr>
          <p:nvPr/>
        </p:nvSpPr>
        <p:spPr>
          <a:xfrm>
            <a:off x="449201" y="1567478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IQ offset Change 10dB:                                             </a:t>
            </a:r>
          </a:p>
          <a:p>
            <a:r>
              <a:rPr lang="en-US" altLang="zh-CN" dirty="0"/>
              <a:t>Power out=0dBm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</a:p>
          <a:p>
            <a:r>
              <a:rPr lang="en-US" altLang="zh-CN" dirty="0" err="1"/>
              <a:t>GainImbalance</a:t>
            </a:r>
            <a:r>
              <a:rPr lang="en-US" altLang="zh-CN" dirty="0"/>
              <a:t>=0.002</a:t>
            </a:r>
          </a:p>
          <a:p>
            <a:r>
              <a:rPr lang="en-US" altLang="zh-CN" dirty="0">
                <a:highlight>
                  <a:srgbClr val="FFFF00"/>
                </a:highlight>
              </a:rPr>
              <a:t>IQ offset=0.014</a:t>
            </a:r>
          </a:p>
          <a:p>
            <a:r>
              <a:rPr lang="en-US" altLang="zh-CN" dirty="0"/>
              <a:t>Phase Noise =[100, -97.133, 1000, -106.072, 1e4, -118.607];</a:t>
            </a:r>
          </a:p>
          <a:p>
            <a:r>
              <a:rPr lang="en-US" altLang="zh-CN" dirty="0"/>
              <a:t> PA_TOI=30</a:t>
            </a:r>
            <a:endParaRPr lang="zh-CN" altLang="en-US" dirty="0"/>
          </a:p>
        </p:txBody>
      </p:sp>
      <p:sp>
        <p:nvSpPr>
          <p:cNvPr id="7" name="内容占位符 1">
            <a:extLst>
              <a:ext uri="{FF2B5EF4-FFF2-40B4-BE49-F238E27FC236}">
                <a16:creationId xmlns:a16="http://schemas.microsoft.com/office/drawing/2014/main" id="{AF112D20-C81D-41EA-94CE-222F4E0C499E}"/>
              </a:ext>
            </a:extLst>
          </p:cNvPr>
          <p:cNvSpPr txBox="1">
            <a:spLocks/>
          </p:cNvSpPr>
          <p:nvPr/>
        </p:nvSpPr>
        <p:spPr>
          <a:xfrm>
            <a:off x="5852611" y="1567198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IQ offset Change 15dB:                                             </a:t>
            </a:r>
          </a:p>
          <a:p>
            <a:r>
              <a:rPr lang="en-US" altLang="zh-CN" dirty="0"/>
              <a:t>Power out=0dBm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</a:p>
          <a:p>
            <a:r>
              <a:rPr lang="en-US" altLang="zh-CN" dirty="0" err="1"/>
              <a:t>GainImbalance</a:t>
            </a:r>
            <a:r>
              <a:rPr lang="en-US" altLang="zh-CN" dirty="0"/>
              <a:t>=0.002</a:t>
            </a:r>
          </a:p>
          <a:p>
            <a:r>
              <a:rPr lang="en-US" altLang="zh-CN" dirty="0">
                <a:highlight>
                  <a:srgbClr val="FFFF00"/>
                </a:highlight>
              </a:rPr>
              <a:t>IQ offset=0.025</a:t>
            </a:r>
          </a:p>
          <a:p>
            <a:r>
              <a:rPr lang="en-US" altLang="zh-CN" dirty="0"/>
              <a:t>Phase Noise =[100, -97.133, 1000, -106.072, 1e4, -118.607];</a:t>
            </a:r>
          </a:p>
          <a:p>
            <a:r>
              <a:rPr lang="en-US" altLang="zh-CN" dirty="0"/>
              <a:t> PA_TOI=3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7364459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2232322-B07C-44A6-BD7B-3AFD8BB1A8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56DF92C9-EAB6-4963-A5BD-140FF35803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ional Title of the Present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6AF47B60-F94A-4AEE-8A9B-64A37135C2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IQoffset</a:t>
            </a:r>
            <a:r>
              <a:rPr lang="en-US" altLang="zh-CN" dirty="0"/>
              <a:t> Test</a:t>
            </a:r>
            <a:endParaRPr lang="zh-CN" altLang="en-US" dirty="0"/>
          </a:p>
        </p:txBody>
      </p:sp>
      <p:sp>
        <p:nvSpPr>
          <p:cNvPr id="6" name="内容占位符 1">
            <a:extLst>
              <a:ext uri="{FF2B5EF4-FFF2-40B4-BE49-F238E27FC236}">
                <a16:creationId xmlns:a16="http://schemas.microsoft.com/office/drawing/2014/main" id="{748668FE-7225-414F-8AE0-2C1246968887}"/>
              </a:ext>
            </a:extLst>
          </p:cNvPr>
          <p:cNvSpPr txBox="1">
            <a:spLocks/>
          </p:cNvSpPr>
          <p:nvPr/>
        </p:nvSpPr>
        <p:spPr>
          <a:xfrm>
            <a:off x="449201" y="1567478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IQ offset Change 10dB:                                             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Power out=0dBm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DAC_Nbits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=14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GainImbalance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=0.002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IQ offset=0.2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Phase Noise =[100, -97.133, 1000, -106.072, 1e4, -118.607];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 PA_TOI=30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7" name="内容占位符 1">
            <a:extLst>
              <a:ext uri="{FF2B5EF4-FFF2-40B4-BE49-F238E27FC236}">
                <a16:creationId xmlns:a16="http://schemas.microsoft.com/office/drawing/2014/main" id="{AF112D20-C81D-41EA-94CE-222F4E0C499E}"/>
              </a:ext>
            </a:extLst>
          </p:cNvPr>
          <p:cNvSpPr txBox="1">
            <a:spLocks/>
          </p:cNvSpPr>
          <p:nvPr/>
        </p:nvSpPr>
        <p:spPr>
          <a:xfrm>
            <a:off x="5852611" y="1567198"/>
            <a:ext cx="3851195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IQ offset Change 15dB:                                             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Power out=0dBm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DAC_Nbits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=14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GainImbalance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=0.002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IQ offset=0.4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Phase Noise =[100, -97.133, 1000, -106.072, 1e4, -118.607];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 PA_TOI=30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82453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968E277-DCBA-477E-9756-4128F485AA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63EA6867-EE81-49DE-9EAD-0F2A6B4F32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C8DDA9A8-7811-4A4F-A63E-9C24792DCE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IQoffset</a:t>
            </a:r>
            <a:r>
              <a:rPr lang="en-US" altLang="zh-CN" dirty="0"/>
              <a:t> Test Compare</a:t>
            </a:r>
            <a:endParaRPr lang="zh-CN" altLang="en-US" dirty="0"/>
          </a:p>
        </p:txBody>
      </p:sp>
      <p:graphicFrame>
        <p:nvGraphicFramePr>
          <p:cNvPr id="6" name="内容占位符 5">
            <a:extLst>
              <a:ext uri="{FF2B5EF4-FFF2-40B4-BE49-F238E27FC236}">
                <a16:creationId xmlns:a16="http://schemas.microsoft.com/office/drawing/2014/main" id="{7731EC85-314C-4E23-9C44-1C0441896F8A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2863411074"/>
              </p:ext>
            </p:extLst>
          </p:nvPr>
        </p:nvGraphicFramePr>
        <p:xfrm>
          <a:off x="449201" y="2187876"/>
          <a:ext cx="11432080" cy="3427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6845">
                  <a:extLst>
                    <a:ext uri="{9D8B030D-6E8A-4147-A177-3AD203B41FA5}">
                      <a16:colId xmlns:a16="http://schemas.microsoft.com/office/drawing/2014/main" val="330016611"/>
                    </a:ext>
                  </a:extLst>
                </a:gridCol>
                <a:gridCol w="959571">
                  <a:extLst>
                    <a:ext uri="{9D8B030D-6E8A-4147-A177-3AD203B41FA5}">
                      <a16:colId xmlns:a16="http://schemas.microsoft.com/office/drawing/2014/main" val="16487665"/>
                    </a:ext>
                  </a:extLst>
                </a:gridCol>
                <a:gridCol w="1143208">
                  <a:extLst>
                    <a:ext uri="{9D8B030D-6E8A-4147-A177-3AD203B41FA5}">
                      <a16:colId xmlns:a16="http://schemas.microsoft.com/office/drawing/2014/main" val="550622899"/>
                    </a:ext>
                  </a:extLst>
                </a:gridCol>
                <a:gridCol w="1143208">
                  <a:extLst>
                    <a:ext uri="{9D8B030D-6E8A-4147-A177-3AD203B41FA5}">
                      <a16:colId xmlns:a16="http://schemas.microsoft.com/office/drawing/2014/main" val="2798564048"/>
                    </a:ext>
                  </a:extLst>
                </a:gridCol>
                <a:gridCol w="1143208">
                  <a:extLst>
                    <a:ext uri="{9D8B030D-6E8A-4147-A177-3AD203B41FA5}">
                      <a16:colId xmlns:a16="http://schemas.microsoft.com/office/drawing/2014/main" val="768901539"/>
                    </a:ext>
                  </a:extLst>
                </a:gridCol>
                <a:gridCol w="1143208">
                  <a:extLst>
                    <a:ext uri="{9D8B030D-6E8A-4147-A177-3AD203B41FA5}">
                      <a16:colId xmlns:a16="http://schemas.microsoft.com/office/drawing/2014/main" val="2886613245"/>
                    </a:ext>
                  </a:extLst>
                </a:gridCol>
                <a:gridCol w="1143208">
                  <a:extLst>
                    <a:ext uri="{9D8B030D-6E8A-4147-A177-3AD203B41FA5}">
                      <a16:colId xmlns:a16="http://schemas.microsoft.com/office/drawing/2014/main" val="4143579370"/>
                    </a:ext>
                  </a:extLst>
                </a:gridCol>
                <a:gridCol w="1143208">
                  <a:extLst>
                    <a:ext uri="{9D8B030D-6E8A-4147-A177-3AD203B41FA5}">
                      <a16:colId xmlns:a16="http://schemas.microsoft.com/office/drawing/2014/main" val="845819647"/>
                    </a:ext>
                  </a:extLst>
                </a:gridCol>
                <a:gridCol w="1143208">
                  <a:extLst>
                    <a:ext uri="{9D8B030D-6E8A-4147-A177-3AD203B41FA5}">
                      <a16:colId xmlns:a16="http://schemas.microsoft.com/office/drawing/2014/main" val="3398723242"/>
                    </a:ext>
                  </a:extLst>
                </a:gridCol>
                <a:gridCol w="1143208">
                  <a:extLst>
                    <a:ext uri="{9D8B030D-6E8A-4147-A177-3AD203B41FA5}">
                      <a16:colId xmlns:a16="http://schemas.microsoft.com/office/drawing/2014/main" val="669333517"/>
                    </a:ext>
                  </a:extLst>
                </a:gridCol>
              </a:tblGrid>
              <a:tr h="571175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n-US" altLang="zh-CN" dirty="0"/>
                        <a:t>EVM(dB)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n-US" altLang="zh-CN" dirty="0"/>
                        <a:t>1BW_Upper_ACLR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1BW_Lower_ACLR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8383173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IQ offse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8967347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0.01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8.30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9.80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1.49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83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60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23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4.13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8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548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071811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0.02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8.30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9.55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1.25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85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60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2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4.14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60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536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806598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0.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1.06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2.13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1.06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4.04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42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62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4.26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44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82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1899147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0.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32.98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33.45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47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4.0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37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69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4.28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38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896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69555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645945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9289E31-4D7F-4A47-9666-F15416B30F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E3AD3B2-42DF-4570-BFAE-4525BF95EE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ADBC43DA-0675-4F0A-AA43-1D0DE109C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XT_IQoffset</a:t>
            </a:r>
            <a:r>
              <a:rPr lang="en-US" altLang="zh-CN" dirty="0"/>
              <a:t>=0.014</a:t>
            </a:r>
            <a:endParaRPr lang="zh-CN" altLang="en-US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B696FDA5-7F06-4A59-820D-9297037B74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6323" r="1778" b="12462"/>
          <a:stretch/>
        </p:blipFill>
        <p:spPr>
          <a:xfrm>
            <a:off x="449200" y="1424735"/>
            <a:ext cx="2965119" cy="2154131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F93B4574-D43D-440F-AC15-B13CF5E84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0" y="4611866"/>
            <a:ext cx="10182225" cy="1809750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1EBE9666-407B-4732-BDC3-825C79141A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1400" y="1467420"/>
            <a:ext cx="3575538" cy="196158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EF2506A1-C109-4DAA-9757-F7CB33C4D8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28792" y="1450416"/>
            <a:ext cx="3880338" cy="2167427"/>
          </a:xfrm>
          <a:prstGeom prst="rect">
            <a:avLst/>
          </a:prstGeom>
        </p:spPr>
      </p:pic>
      <p:sp>
        <p:nvSpPr>
          <p:cNvPr id="14" name="文本框 1">
            <a:extLst>
              <a:ext uri="{FF2B5EF4-FFF2-40B4-BE49-F238E27FC236}">
                <a16:creationId xmlns:a16="http://schemas.microsoft.com/office/drawing/2014/main" id="{30C0BBCA-F841-49E1-AFD5-77F22C2738CE}"/>
              </a:ext>
            </a:extLst>
          </p:cNvPr>
          <p:cNvSpPr txBox="1"/>
          <p:nvPr/>
        </p:nvSpPr>
        <p:spPr>
          <a:xfrm>
            <a:off x="1112477" y="3734270"/>
            <a:ext cx="216761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8.308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0.798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46080374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D461194-3439-4CE5-8D09-719C2814A6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A365BC4-011A-41A8-B4D5-336B624C8D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EC36618-0C78-485F-99C7-C3AEB15B19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IQoffset</a:t>
            </a:r>
            <a:r>
              <a:rPr lang="en-US" altLang="zh-CN" dirty="0"/>
              <a:t>= 0.014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858E1B0A-598B-432B-9836-620354B2A27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20" t="10513" r="6357" b="16026"/>
          <a:stretch/>
        </p:blipFill>
        <p:spPr>
          <a:xfrm>
            <a:off x="449201" y="1503484"/>
            <a:ext cx="3769873" cy="1926974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FCD92FE4-FC97-4A72-8E1A-0D4B1EAC5C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94065" y="1355444"/>
            <a:ext cx="3897081" cy="218018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F14FE22-9267-4D5E-9D57-90E383022F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69966" y="1587739"/>
            <a:ext cx="3291254" cy="1841261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5CA11180-CE96-41F4-8A83-1F7E01A206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9201" y="4296135"/>
            <a:ext cx="10334625" cy="2305050"/>
          </a:xfrm>
          <a:prstGeom prst="rect">
            <a:avLst/>
          </a:prstGeom>
        </p:spPr>
      </p:pic>
      <p:sp>
        <p:nvSpPr>
          <p:cNvPr id="16" name="文本框 1">
            <a:extLst>
              <a:ext uri="{FF2B5EF4-FFF2-40B4-BE49-F238E27FC236}">
                <a16:creationId xmlns:a16="http://schemas.microsoft.com/office/drawing/2014/main" id="{30C0BBCA-F841-49E1-AFD5-77F22C2738CE}"/>
              </a:ext>
            </a:extLst>
          </p:cNvPr>
          <p:cNvSpPr txBox="1"/>
          <p:nvPr/>
        </p:nvSpPr>
        <p:spPr>
          <a:xfrm>
            <a:off x="1297114" y="3481777"/>
            <a:ext cx="224303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9.806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1.287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877723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998F8F0-6202-4A14-BC1C-E9649333C8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14C7F08-9D72-4FBB-91A9-4D22122E49C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1B99FD73-6C4B-46BB-AEA5-C24B9738B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  <p:pic>
        <p:nvPicPr>
          <p:cNvPr id="8" name="内容占位符 7">
            <a:extLst>
              <a:ext uri="{FF2B5EF4-FFF2-40B4-BE49-F238E27FC236}">
                <a16:creationId xmlns:a16="http://schemas.microsoft.com/office/drawing/2014/main" id="{301542F7-7ACF-4825-90AA-57CA55C72292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416870"/>
            <a:ext cx="8009065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6178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2C85A32-4746-474D-A3A7-43DC7B4C79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C29A879-6F1A-4746-814C-9C78DC8102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7028EA73-ED3C-4FDC-9998-53E58C14C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9A98D6AF-7D49-40D3-810D-86502AB61E38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503069"/>
            <a:ext cx="9059353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61626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8B2D22C-78E5-4177-BAC4-0A6CEA0D43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69E3168-96ED-474A-8E19-52762AB365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96D6969C-8A26-4520-B12C-A32585E86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XT_IQoffset</a:t>
            </a:r>
            <a:r>
              <a:rPr lang="en-US" altLang="zh-CN" dirty="0"/>
              <a:t>=0.025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DADEDD2E-4A23-4D0B-B274-42EDEE29285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6394" r="1779" b="13499"/>
          <a:stretch/>
        </p:blipFill>
        <p:spPr>
          <a:xfrm>
            <a:off x="449200" y="1525852"/>
            <a:ext cx="2847741" cy="2047875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31F71742-056A-45DB-8737-4B20263B24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0" y="4332806"/>
            <a:ext cx="10534650" cy="204787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75289D6F-7974-441D-A69D-27389D3905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22380" y="1427494"/>
            <a:ext cx="4004896" cy="2236183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AE615642-60B8-4A26-8131-72C7A144DF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38659" y="1487542"/>
            <a:ext cx="3506854" cy="1941458"/>
          </a:xfrm>
          <a:prstGeom prst="rect">
            <a:avLst/>
          </a:prstGeom>
        </p:spPr>
      </p:pic>
      <p:sp>
        <p:nvSpPr>
          <p:cNvPr id="15" name="文本框 1">
            <a:extLst>
              <a:ext uri="{FF2B5EF4-FFF2-40B4-BE49-F238E27FC236}">
                <a16:creationId xmlns:a16="http://schemas.microsoft.com/office/drawing/2014/main" id="{30C0BBCA-F841-49E1-AFD5-77F22C2738CE}"/>
              </a:ext>
            </a:extLst>
          </p:cNvPr>
          <p:cNvSpPr txBox="1"/>
          <p:nvPr/>
        </p:nvSpPr>
        <p:spPr>
          <a:xfrm>
            <a:off x="1037536" y="3663677"/>
            <a:ext cx="197346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8.302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36.779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2749395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1093E0C-F046-479A-994C-322F161A6B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6CEACF5-735A-4EB5-A5F2-EDE86CC78B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F655782D-8C01-4FA6-A6B1-463CA96DE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IQoffset</a:t>
            </a:r>
            <a:r>
              <a:rPr lang="en-US" altLang="zh-CN" dirty="0"/>
              <a:t>=0.025</a:t>
            </a:r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A049B81F-23D9-44D5-9BB3-550066D366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0" y="1370281"/>
            <a:ext cx="4241151" cy="223011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27D22B1E-6DE2-4437-815B-0B00312D1D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8267" y="1482526"/>
            <a:ext cx="3445945" cy="1917089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FB167D3C-1A87-4A4A-96FE-A35864A95D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54212" y="1469728"/>
            <a:ext cx="3890494" cy="2130669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C9630E49-FF81-4694-BF63-1A64F42397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8257" y="4327724"/>
            <a:ext cx="10467975" cy="2095500"/>
          </a:xfrm>
          <a:prstGeom prst="rect">
            <a:avLst/>
          </a:prstGeom>
        </p:spPr>
      </p:pic>
      <p:sp>
        <p:nvSpPr>
          <p:cNvPr id="16" name="文本框 1">
            <a:extLst>
              <a:ext uri="{FF2B5EF4-FFF2-40B4-BE49-F238E27FC236}">
                <a16:creationId xmlns:a16="http://schemas.microsoft.com/office/drawing/2014/main" id="{30C0BBCA-F841-49E1-AFD5-77F22C2738CE}"/>
              </a:ext>
            </a:extLst>
          </p:cNvPr>
          <p:cNvSpPr txBox="1"/>
          <p:nvPr/>
        </p:nvSpPr>
        <p:spPr>
          <a:xfrm>
            <a:off x="1754315" y="3564946"/>
            <a:ext cx="206267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9.553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36.658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76929304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B5E84A2-103C-4728-AB94-6EFA835B3C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CD56BA4-399B-4F5F-B565-6F0698E595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D7B1A08F-511D-4E51-AA06-7C1060213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  <p:pic>
        <p:nvPicPr>
          <p:cNvPr id="8" name="内容占位符 7">
            <a:extLst>
              <a:ext uri="{FF2B5EF4-FFF2-40B4-BE49-F238E27FC236}">
                <a16:creationId xmlns:a16="http://schemas.microsoft.com/office/drawing/2014/main" id="{46C41008-973D-4FE7-8F6E-6F26947A0A1B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459107"/>
            <a:ext cx="7998519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3339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4BFAB7F-E81F-4BE0-8D42-9EDF7CCC64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967869B-266B-4F8A-AA3E-7042F858FD4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A0DBD8FF-92E2-4CF5-9D28-C9BE4AC5A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XT_IQoffset</a:t>
            </a:r>
            <a:r>
              <a:rPr lang="en-US" altLang="zh-CN" dirty="0"/>
              <a:t>=0.2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4F33048-EE68-4128-AA76-18D2B37C03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55049"/>
            <a:ext cx="3422211" cy="2172573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E78FCABA-E409-4ABA-91A0-D79CDFED4C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663414"/>
            <a:ext cx="6543675" cy="1533525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B55B1744-77FF-4EBA-BEFC-DAE4396CB8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5577" y="1317604"/>
            <a:ext cx="2962457" cy="2518722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3733481A-6660-4BE0-AC18-77BFDB8516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96883" y="1338108"/>
            <a:ext cx="3049260" cy="2579148"/>
          </a:xfrm>
          <a:prstGeom prst="rect">
            <a:avLst/>
          </a:prstGeom>
        </p:spPr>
      </p:pic>
      <p:sp>
        <p:nvSpPr>
          <p:cNvPr id="11" name="文本框 1">
            <a:extLst>
              <a:ext uri="{FF2B5EF4-FFF2-40B4-BE49-F238E27FC236}">
                <a16:creationId xmlns:a16="http://schemas.microsoft.com/office/drawing/2014/main" id="{D0CF1226-4428-4E9A-B221-84D1F7DA6289}"/>
              </a:ext>
            </a:extLst>
          </p:cNvPr>
          <p:cNvSpPr txBox="1"/>
          <p:nvPr/>
        </p:nvSpPr>
        <p:spPr>
          <a:xfrm>
            <a:off x="926057" y="3559327"/>
            <a:ext cx="209915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1.056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0.803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35236984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6AB54CE-69B2-4E30-8EFF-001427AEF7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F6A4AE7B-2E87-4ED3-955D-99FA8D230A4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8F645B6F-827F-4701-8FC5-D30286D930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IQoffset</a:t>
            </a:r>
            <a:r>
              <a:rPr lang="en-US" altLang="zh-CN" dirty="0"/>
              <a:t>=0.2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27D91AB-B16A-4D3D-861C-E5EDF73B6B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2879" y="1431083"/>
            <a:ext cx="4114841" cy="217282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48592D04-B0C7-47AA-9970-0A8D3B8B9B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175380"/>
            <a:ext cx="6543675" cy="142875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6CFA63D3-46AD-4F1D-A8AF-F374A53834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44966" y="1370282"/>
            <a:ext cx="3047848" cy="2595671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022476EE-541A-4BD9-A6DC-66859F2F32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40061" y="1448051"/>
            <a:ext cx="2941128" cy="2532404"/>
          </a:xfrm>
          <a:prstGeom prst="rect">
            <a:avLst/>
          </a:prstGeom>
        </p:spPr>
      </p:pic>
      <p:sp>
        <p:nvSpPr>
          <p:cNvPr id="10" name="文本框 1">
            <a:extLst>
              <a:ext uri="{FF2B5EF4-FFF2-40B4-BE49-F238E27FC236}">
                <a16:creationId xmlns:a16="http://schemas.microsoft.com/office/drawing/2014/main" id="{2AFB56D2-4E28-492F-A5BB-C9C9747AB3E4}"/>
              </a:ext>
            </a:extLst>
          </p:cNvPr>
          <p:cNvSpPr txBox="1"/>
          <p:nvPr/>
        </p:nvSpPr>
        <p:spPr>
          <a:xfrm>
            <a:off x="1099973" y="3603903"/>
            <a:ext cx="20192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2.133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0.764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02554107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7C3E0881-098C-4AAC-8B19-D7629E0ECFE3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459107"/>
            <a:ext cx="5288489" cy="4478338"/>
          </a:xfrm>
          <a:prstGeom prst="rect">
            <a:avLst/>
          </a:prstGeom>
        </p:spPr>
      </p:pic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FD59355-7FF5-4E84-B6B0-3C327EB010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FD3A5F6-700F-4D36-BBEA-E198701A44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340FA611-1CD7-4BC5-9956-A7701032C3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6543698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A95DAFE-1B20-4B6B-B47E-1279C0809D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9F21681-ACE3-4381-8C8F-4BF92B765A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9CDB757D-F7A5-4A56-9792-4EF605402C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XT_IQoffset</a:t>
            </a:r>
            <a:r>
              <a:rPr lang="en-US" altLang="zh-CN" dirty="0"/>
              <a:t>=0.4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B49F938-9B6A-4778-A6C2-0AADA98B8B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2"/>
            <a:ext cx="3589399" cy="224409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483086E2-EE3A-4EC4-B56C-DD5D0F1D1D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548840"/>
            <a:ext cx="6543675" cy="161925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327708B3-08C3-4A92-8187-D2005F22FF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76096" y="1314509"/>
            <a:ext cx="3066875" cy="2627494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83BA9F07-4D6D-4925-85D0-8EC3E003B4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51896" y="1387160"/>
            <a:ext cx="3169903" cy="2700288"/>
          </a:xfrm>
          <a:prstGeom prst="rect">
            <a:avLst/>
          </a:prstGeom>
        </p:spPr>
      </p:pic>
      <p:sp>
        <p:nvSpPr>
          <p:cNvPr id="10" name="文本框 1">
            <a:extLst>
              <a:ext uri="{FF2B5EF4-FFF2-40B4-BE49-F238E27FC236}">
                <a16:creationId xmlns:a16="http://schemas.microsoft.com/office/drawing/2014/main" id="{32B2E331-1C89-43A4-BC94-FE4D8BDECECF}"/>
              </a:ext>
            </a:extLst>
          </p:cNvPr>
          <p:cNvSpPr txBox="1"/>
          <p:nvPr/>
        </p:nvSpPr>
        <p:spPr>
          <a:xfrm>
            <a:off x="1192252" y="3688055"/>
            <a:ext cx="218012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32.981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2.814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48905034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41297FA-908D-4230-A705-229F5C6868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6D7E4BE-2359-4AD8-BA1C-78E0FD9810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7A9258A9-4A4C-4632-96BD-C3C2B4A1F2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IQoffset</a:t>
            </a:r>
            <a:r>
              <a:rPr lang="en-US" altLang="zh-CN" dirty="0"/>
              <a:t>=0.4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C928D12-45CD-4295-9598-ED375D78D5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2" y="1370281"/>
            <a:ext cx="3741560" cy="193498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177645B5-B3FB-419A-9AF2-93621D6B19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4064" y="1314509"/>
            <a:ext cx="3043872" cy="257992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7C7DCB5B-92AD-45F4-BA9F-48D29EBE41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9857" y="1494956"/>
            <a:ext cx="2585164" cy="221902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AF1DA1A3-12F2-4096-90C2-ECEF0D2E5A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9201" y="4297423"/>
            <a:ext cx="6553200" cy="1647825"/>
          </a:xfrm>
          <a:prstGeom prst="rect">
            <a:avLst/>
          </a:prstGeom>
        </p:spPr>
      </p:pic>
      <p:sp>
        <p:nvSpPr>
          <p:cNvPr id="10" name="文本框 1">
            <a:extLst>
              <a:ext uri="{FF2B5EF4-FFF2-40B4-BE49-F238E27FC236}">
                <a16:creationId xmlns:a16="http://schemas.microsoft.com/office/drawing/2014/main" id="{CAA027F4-E157-479A-9D19-2E7DE28099C7}"/>
              </a:ext>
            </a:extLst>
          </p:cNvPr>
          <p:cNvSpPr txBox="1"/>
          <p:nvPr/>
        </p:nvSpPr>
        <p:spPr>
          <a:xfrm>
            <a:off x="1332211" y="3617430"/>
            <a:ext cx="212978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33.456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2.827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473003703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34BC759-E8E5-4CA5-814D-17D84E97B4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D9CB030C-934C-4B3E-A9F5-1725E7B7950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B687EF0E-39D6-430A-857B-E7A20A761F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DD03829-D9B2-4419-82DE-E9C688A1C6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2"/>
            <a:ext cx="4989139" cy="4257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20998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>
            <a:extLst>
              <a:ext uri="{FF2B5EF4-FFF2-40B4-BE49-F238E27FC236}">
                <a16:creationId xmlns:a16="http://schemas.microsoft.com/office/drawing/2014/main" id="{68D79AFE-7691-4F42-AF5C-14037A2F618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3083733" cy="4479059"/>
          </a:xfrm>
        </p:spPr>
        <p:txBody>
          <a:bodyPr/>
          <a:lstStyle/>
          <a:p>
            <a:r>
              <a:rPr lang="en-US" altLang="zh-CN" dirty="0" err="1"/>
              <a:t>Orgin</a:t>
            </a:r>
            <a:r>
              <a:rPr lang="en-US" altLang="zh-CN" dirty="0"/>
              <a:t> Para:                                             </a:t>
            </a:r>
          </a:p>
          <a:p>
            <a:r>
              <a:rPr lang="en-US" altLang="zh-CN" dirty="0"/>
              <a:t>Power out=0dBm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</a:p>
          <a:p>
            <a:r>
              <a:rPr lang="en-US" altLang="zh-CN" dirty="0" err="1"/>
              <a:t>GainImbalance</a:t>
            </a:r>
            <a:r>
              <a:rPr lang="en-US" altLang="zh-CN" dirty="0"/>
              <a:t>=0.002</a:t>
            </a:r>
          </a:p>
          <a:p>
            <a:r>
              <a:rPr lang="en-US" altLang="zh-CN" dirty="0"/>
              <a:t>IQ offset=0.0044</a:t>
            </a:r>
          </a:p>
          <a:p>
            <a:r>
              <a:rPr lang="en-US" altLang="zh-CN" dirty="0"/>
              <a:t>Phase Noise =[100, -97.133, 1000, -106.072, 1e4, -118.607];</a:t>
            </a:r>
          </a:p>
          <a:p>
            <a:r>
              <a:rPr lang="en-US" altLang="zh-CN" dirty="0"/>
              <a:t> PA_TOI=30</a:t>
            </a:r>
            <a:endParaRPr lang="zh-CN" altLang="en-US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046D67D-2598-4490-88C7-C26B9EDAE2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8ACD989-2EBF-40EA-801A-B90E7013525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6875B6A1-301E-4158-9790-DEE14CECE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mbine Test</a:t>
            </a:r>
            <a:endParaRPr lang="zh-CN" altLang="en-US" dirty="0"/>
          </a:p>
        </p:txBody>
      </p:sp>
      <p:sp>
        <p:nvSpPr>
          <p:cNvPr id="6" name="内容占位符 1">
            <a:extLst>
              <a:ext uri="{FF2B5EF4-FFF2-40B4-BE49-F238E27FC236}">
                <a16:creationId xmlns:a16="http://schemas.microsoft.com/office/drawing/2014/main" id="{0FE7BBC8-5FC6-431B-82AF-749EF22479AE}"/>
              </a:ext>
            </a:extLst>
          </p:cNvPr>
          <p:cNvSpPr txBox="1">
            <a:spLocks/>
          </p:cNvSpPr>
          <p:nvPr/>
        </p:nvSpPr>
        <p:spPr>
          <a:xfrm>
            <a:off x="4393379" y="1802868"/>
            <a:ext cx="2891149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Change 5dB:                                             </a:t>
            </a:r>
          </a:p>
          <a:p>
            <a:r>
              <a:rPr lang="en-US" altLang="zh-CN" dirty="0"/>
              <a:t>Power out=0dBm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2</a:t>
            </a:r>
          </a:p>
          <a:p>
            <a:r>
              <a:rPr lang="en-US" altLang="zh-CN" dirty="0" err="1"/>
              <a:t>GainImbalance</a:t>
            </a:r>
            <a:r>
              <a:rPr lang="en-US" altLang="zh-CN" dirty="0"/>
              <a:t>=0.01</a:t>
            </a:r>
          </a:p>
          <a:p>
            <a:r>
              <a:rPr lang="en-US" altLang="zh-CN" dirty="0"/>
              <a:t>IQ offset=0.0079</a:t>
            </a:r>
          </a:p>
          <a:p>
            <a:r>
              <a:rPr lang="en-US" altLang="zh-CN" dirty="0"/>
              <a:t>Phase Noise =[100, -87.133, 1000, -96.072, 1e4, -108.607];</a:t>
            </a:r>
          </a:p>
          <a:p>
            <a:r>
              <a:rPr lang="en-US" altLang="zh-CN" dirty="0"/>
              <a:t> PA_TOI=25</a:t>
            </a:r>
            <a:endParaRPr lang="zh-CN" altLang="en-US" dirty="0"/>
          </a:p>
        </p:txBody>
      </p:sp>
      <p:sp>
        <p:nvSpPr>
          <p:cNvPr id="7" name="内容占位符 1">
            <a:extLst>
              <a:ext uri="{FF2B5EF4-FFF2-40B4-BE49-F238E27FC236}">
                <a16:creationId xmlns:a16="http://schemas.microsoft.com/office/drawing/2014/main" id="{73DB8A11-F00E-42C3-B718-83BCA5AE5AE3}"/>
              </a:ext>
            </a:extLst>
          </p:cNvPr>
          <p:cNvSpPr txBox="1">
            <a:spLocks/>
          </p:cNvSpPr>
          <p:nvPr/>
        </p:nvSpPr>
        <p:spPr>
          <a:xfrm>
            <a:off x="8741045" y="1829749"/>
            <a:ext cx="2891149" cy="447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Change 10dB:                                             </a:t>
            </a:r>
          </a:p>
          <a:p>
            <a:r>
              <a:rPr lang="en-US" altLang="zh-CN" dirty="0"/>
              <a:t>Power out=0dBm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0</a:t>
            </a:r>
          </a:p>
          <a:p>
            <a:r>
              <a:rPr lang="en-US" altLang="zh-CN" dirty="0" err="1"/>
              <a:t>GainImbalance</a:t>
            </a:r>
            <a:r>
              <a:rPr lang="en-US" altLang="zh-CN" dirty="0"/>
              <a:t>=0.02</a:t>
            </a:r>
          </a:p>
          <a:p>
            <a:r>
              <a:rPr lang="en-US" altLang="zh-CN" dirty="0"/>
              <a:t>IQ offset=0.014</a:t>
            </a:r>
          </a:p>
          <a:p>
            <a:r>
              <a:rPr lang="en-US" altLang="zh-CN" dirty="0"/>
              <a:t>Phase Noise =[100, -82.133, 1000, -91.072, 1e4, -103.607];</a:t>
            </a:r>
          </a:p>
          <a:p>
            <a:r>
              <a:rPr lang="en-US" altLang="zh-CN" dirty="0"/>
              <a:t> PA_TOI=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810383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D35E5A4-83D0-45FB-8811-41D3A7F4A23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82460B0B-8AC4-4651-8880-079D47D6D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B875AF6B-D510-4688-87C8-3D9F0CEFE3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_TOI=20</a:t>
            </a:r>
            <a:endParaRPr lang="zh-CN" altLang="en-US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B57F74C8-6732-4A57-9E25-75F5EF8683B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8269"/>
          <a:stretch/>
        </p:blipFill>
        <p:spPr>
          <a:xfrm>
            <a:off x="449201" y="1428841"/>
            <a:ext cx="2503251" cy="2085868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290F8EDD-AABC-4306-B0DB-FC8DEFD24C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276677"/>
            <a:ext cx="10477500" cy="2038350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441955DE-AEA8-49E4-B788-2DE9540AB3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01144" y="1617690"/>
            <a:ext cx="3952509" cy="1950721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FE0A14DC-D87E-45D1-881B-D6FF091ABF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57330" y="1550116"/>
            <a:ext cx="4204555" cy="2085868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4C304234-4284-49A5-A561-F046A221BB05}"/>
              </a:ext>
            </a:extLst>
          </p:cNvPr>
          <p:cNvSpPr txBox="1"/>
          <p:nvPr/>
        </p:nvSpPr>
        <p:spPr>
          <a:xfrm>
            <a:off x="513385" y="3562300"/>
            <a:ext cx="215431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37.54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549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71241566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3E564C4-29EF-46DD-A19D-C80FB90741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977B256-9644-4F14-B23D-B92738F600E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807561B-F338-47D7-98E3-DFFCDD27E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mbine Test Compare</a:t>
            </a:r>
            <a:endParaRPr lang="zh-CN" altLang="en-US" dirty="0"/>
          </a:p>
        </p:txBody>
      </p:sp>
      <p:graphicFrame>
        <p:nvGraphicFramePr>
          <p:cNvPr id="6" name="内容占位符 5">
            <a:extLst>
              <a:ext uri="{FF2B5EF4-FFF2-40B4-BE49-F238E27FC236}">
                <a16:creationId xmlns:a16="http://schemas.microsoft.com/office/drawing/2014/main" id="{174DB489-E4CE-4853-A7B9-625B93691361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2464227184"/>
              </p:ext>
            </p:extLst>
          </p:nvPr>
        </p:nvGraphicFramePr>
        <p:xfrm>
          <a:off x="369277" y="2187876"/>
          <a:ext cx="11512000" cy="29247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2615">
                  <a:extLst>
                    <a:ext uri="{9D8B030D-6E8A-4147-A177-3AD203B41FA5}">
                      <a16:colId xmlns:a16="http://schemas.microsoft.com/office/drawing/2014/main" val="330016611"/>
                    </a:ext>
                  </a:extLst>
                </a:gridCol>
                <a:gridCol w="1063870">
                  <a:extLst>
                    <a:ext uri="{9D8B030D-6E8A-4147-A177-3AD203B41FA5}">
                      <a16:colId xmlns:a16="http://schemas.microsoft.com/office/drawing/2014/main" val="16487665"/>
                    </a:ext>
                  </a:extLst>
                </a:gridCol>
                <a:gridCol w="1046284">
                  <a:extLst>
                    <a:ext uri="{9D8B030D-6E8A-4147-A177-3AD203B41FA5}">
                      <a16:colId xmlns:a16="http://schemas.microsoft.com/office/drawing/2014/main" val="550622899"/>
                    </a:ext>
                  </a:extLst>
                </a:gridCol>
                <a:gridCol w="896539">
                  <a:extLst>
                    <a:ext uri="{9D8B030D-6E8A-4147-A177-3AD203B41FA5}">
                      <a16:colId xmlns:a16="http://schemas.microsoft.com/office/drawing/2014/main" val="2798564048"/>
                    </a:ext>
                  </a:extLst>
                </a:gridCol>
                <a:gridCol w="1153782">
                  <a:extLst>
                    <a:ext uri="{9D8B030D-6E8A-4147-A177-3AD203B41FA5}">
                      <a16:colId xmlns:a16="http://schemas.microsoft.com/office/drawing/2014/main" val="768901539"/>
                    </a:ext>
                  </a:extLst>
                </a:gridCol>
                <a:gridCol w="1153782">
                  <a:extLst>
                    <a:ext uri="{9D8B030D-6E8A-4147-A177-3AD203B41FA5}">
                      <a16:colId xmlns:a16="http://schemas.microsoft.com/office/drawing/2014/main" val="2886613245"/>
                    </a:ext>
                  </a:extLst>
                </a:gridCol>
                <a:gridCol w="1153782">
                  <a:extLst>
                    <a:ext uri="{9D8B030D-6E8A-4147-A177-3AD203B41FA5}">
                      <a16:colId xmlns:a16="http://schemas.microsoft.com/office/drawing/2014/main" val="4143579370"/>
                    </a:ext>
                  </a:extLst>
                </a:gridCol>
                <a:gridCol w="1153782">
                  <a:extLst>
                    <a:ext uri="{9D8B030D-6E8A-4147-A177-3AD203B41FA5}">
                      <a16:colId xmlns:a16="http://schemas.microsoft.com/office/drawing/2014/main" val="845819647"/>
                    </a:ext>
                  </a:extLst>
                </a:gridCol>
                <a:gridCol w="1153782">
                  <a:extLst>
                    <a:ext uri="{9D8B030D-6E8A-4147-A177-3AD203B41FA5}">
                      <a16:colId xmlns:a16="http://schemas.microsoft.com/office/drawing/2014/main" val="3398723242"/>
                    </a:ext>
                  </a:extLst>
                </a:gridCol>
                <a:gridCol w="1153782">
                  <a:extLst>
                    <a:ext uri="{9D8B030D-6E8A-4147-A177-3AD203B41FA5}">
                      <a16:colId xmlns:a16="http://schemas.microsoft.com/office/drawing/2014/main" val="669333517"/>
                    </a:ext>
                  </a:extLst>
                </a:gridCol>
              </a:tblGrid>
              <a:tr h="571175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n-US" altLang="zh-CN" dirty="0"/>
                        <a:t>EVM(dB)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n-US" altLang="zh-CN" dirty="0"/>
                        <a:t>1BW_Upper_ACLR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1BW_Lower_ACLR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8383173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Combine</a:t>
                      </a:r>
                    </a:p>
                    <a:p>
                      <a:r>
                        <a:rPr lang="en-US" altLang="zh-CN" dirty="0"/>
                        <a:t>Tes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8967347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Origin Para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8.25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9.84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1.59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74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9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15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96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3.57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388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071811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Change 5d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5.29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6.3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1.03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0.96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1.34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37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1.2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51.36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159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806598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Change 10dB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37.38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37.6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30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43.79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44.09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31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43.96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44.18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213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49720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554892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14F5889-942E-417E-9561-35D1C2C2AD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329ABE7-9A27-451C-B35E-508098CBDFC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74D4C2EE-7CD1-465C-91B7-64F867F49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Origin</a:t>
            </a:r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0D7522E6-E20F-45B7-A1BC-624171B5C3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2"/>
            <a:ext cx="2564729" cy="1923547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DF096FC7-6EDA-482E-8E6D-BBCF86CBEA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3911595"/>
            <a:ext cx="10210800" cy="208597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FFC26ACF-9522-44BB-9E02-2809254B27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13930" y="1453976"/>
            <a:ext cx="3781651" cy="2085976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8F2FE5B5-2994-4C98-AD3B-EA65DF73E1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941" y="1639798"/>
            <a:ext cx="3735201" cy="2085976"/>
          </a:xfrm>
          <a:prstGeom prst="rect">
            <a:avLst/>
          </a:prstGeom>
        </p:spPr>
      </p:pic>
      <p:sp>
        <p:nvSpPr>
          <p:cNvPr id="9" name="文本框 1">
            <a:extLst>
              <a:ext uri="{FF2B5EF4-FFF2-40B4-BE49-F238E27FC236}">
                <a16:creationId xmlns:a16="http://schemas.microsoft.com/office/drawing/2014/main" id="{30C0BBCA-F841-49E1-AFD5-77F22C2738CE}"/>
              </a:ext>
            </a:extLst>
          </p:cNvPr>
          <p:cNvSpPr txBox="1"/>
          <p:nvPr/>
        </p:nvSpPr>
        <p:spPr>
          <a:xfrm>
            <a:off x="805538" y="3323368"/>
            <a:ext cx="220839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8.256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392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79232615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5EB9DDF-7A6A-4D2D-9F38-6C0558DEB1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9E7DFE2-E61F-401F-BE0F-18859C4E29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590CFBFF-6BC5-452B-A297-7A6A46C94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im Origin</a:t>
            </a:r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5D542B6D-C46E-4DEC-9B9E-5BFE5039A0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0" y="1339568"/>
            <a:ext cx="3343091" cy="2089432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A5547EB2-57BC-4820-B6A7-35DFC7C49C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199661"/>
            <a:ext cx="10248900" cy="228600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E3688791-C236-42EC-B824-8EF415D459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42592" y="1370282"/>
            <a:ext cx="3827585" cy="213461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FC1CF23E-5622-4905-867E-ED5D6BB751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70177" y="1525647"/>
            <a:ext cx="3994638" cy="2224287"/>
          </a:xfrm>
          <a:prstGeom prst="rect">
            <a:avLst/>
          </a:prstGeom>
        </p:spPr>
      </p:pic>
      <p:sp>
        <p:nvSpPr>
          <p:cNvPr id="10" name="文本框 1">
            <a:extLst>
              <a:ext uri="{FF2B5EF4-FFF2-40B4-BE49-F238E27FC236}">
                <a16:creationId xmlns:a16="http://schemas.microsoft.com/office/drawing/2014/main" id="{30C0BBCA-F841-49E1-AFD5-77F22C2738CE}"/>
              </a:ext>
            </a:extLst>
          </p:cNvPr>
          <p:cNvSpPr txBox="1"/>
          <p:nvPr/>
        </p:nvSpPr>
        <p:spPr>
          <a:xfrm>
            <a:off x="901462" y="3554247"/>
            <a:ext cx="212696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9.847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147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785268055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5377AF8-DB5F-4450-9AEB-BE2A380A61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2A22C0E-DC19-47ED-BCAF-CDE69E7C4D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72D12845-0D5C-4F30-98BF-6F054DA75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9D0F2DBD-CB7D-4D72-B8EC-106894DE479E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370282"/>
            <a:ext cx="8038581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143099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B966CE4-9110-4FBA-ACAF-3440C0CC8E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2F8C2FB-7DE3-40A6-BB35-40E54C9B50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1BE48626-0D2A-486D-9B1E-5A55CD9C7A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Change 5dB</a:t>
            </a:r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AFE7646F-7D86-447C-A08A-5E34ABD443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3"/>
            <a:ext cx="2455651" cy="1841738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CEB1294B-5D70-4973-97BE-62F5477DE5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272605"/>
            <a:ext cx="10382250" cy="149542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00C3F457-CCF4-4AEF-9C85-D46C05E4A7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4859" y="1492641"/>
            <a:ext cx="3141141" cy="1740510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226DC995-4B2E-40E4-A296-13AD4CA929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08203" y="1580874"/>
            <a:ext cx="2928938" cy="1631146"/>
          </a:xfrm>
          <a:prstGeom prst="rect">
            <a:avLst/>
          </a:prstGeom>
        </p:spPr>
      </p:pic>
      <p:sp>
        <p:nvSpPr>
          <p:cNvPr id="9" name="文本框 1">
            <a:extLst>
              <a:ext uri="{FF2B5EF4-FFF2-40B4-BE49-F238E27FC236}">
                <a16:creationId xmlns:a16="http://schemas.microsoft.com/office/drawing/2014/main" id="{30C0BBCA-F841-49E1-AFD5-77F22C2738CE}"/>
              </a:ext>
            </a:extLst>
          </p:cNvPr>
          <p:cNvSpPr txBox="1"/>
          <p:nvPr/>
        </p:nvSpPr>
        <p:spPr>
          <a:xfrm>
            <a:off x="921555" y="3402478"/>
            <a:ext cx="237531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5.294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4.951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9710348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0F0980F-07CF-4CD9-9409-52D6D87D57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6277599-0713-41F5-9412-239CFAFDC96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AF94AA2D-CF17-4AE1-B06D-39D7FD4D0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im Change 5dB</a:t>
            </a:r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A3ADA408-D521-4FDB-A984-4E9A17E5C2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3"/>
            <a:ext cx="3579175" cy="2236984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40F0F359-1228-44A9-AC96-B05220729A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500929"/>
            <a:ext cx="10410825" cy="161925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344C1FB0-0398-4F9E-AD7B-730574E303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04176" y="1456043"/>
            <a:ext cx="3272080" cy="1802056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1496BB09-7509-4810-A25E-C47055DB77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71630" y="1581399"/>
            <a:ext cx="3273364" cy="1799924"/>
          </a:xfrm>
          <a:prstGeom prst="rect">
            <a:avLst/>
          </a:prstGeom>
        </p:spPr>
      </p:pic>
      <p:sp>
        <p:nvSpPr>
          <p:cNvPr id="9" name="文本框 1">
            <a:extLst>
              <a:ext uri="{FF2B5EF4-FFF2-40B4-BE49-F238E27FC236}">
                <a16:creationId xmlns:a16="http://schemas.microsoft.com/office/drawing/2014/main" id="{30C0BBCA-F841-49E1-AFD5-77F22C2738CE}"/>
              </a:ext>
            </a:extLst>
          </p:cNvPr>
          <p:cNvSpPr txBox="1"/>
          <p:nvPr/>
        </p:nvSpPr>
        <p:spPr>
          <a:xfrm>
            <a:off x="1321355" y="3868668"/>
            <a:ext cx="21265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46.33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5.377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21612031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106EFC0B-0394-4089-A97D-6D3DD94BBC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5B14ABA1-26A5-4EB4-B9F1-F7117EE1588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F59E3D3D-CB91-4893-9159-169A0ED98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09FB2739-89BB-48AB-B4B1-F8A3305264E5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370282"/>
            <a:ext cx="8065220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456939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4E5E9F3-3970-469E-9FE7-5FA6183BAD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458B940-705E-4F3A-8992-56BBA202FC5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958AB42E-FE33-4BB4-8067-65BFB14BB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Change 10dB</a:t>
            </a:r>
            <a:endParaRPr lang="zh-CN" altLang="en-US" dirty="0"/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00272454-7291-4196-98A9-9B88A7F8B7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422303"/>
            <a:ext cx="2998674" cy="2249006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A85636EB-53C7-4113-A132-23A7471B30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6657" y="1422303"/>
            <a:ext cx="4206387" cy="2345446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F7B63DAB-54CA-4179-973E-C8DA5314D4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16702" y="1499409"/>
            <a:ext cx="3918805" cy="2191234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42B4EC6E-E38D-4873-9A24-78DB80008C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9201" y="4505685"/>
            <a:ext cx="10172700" cy="2095500"/>
          </a:xfrm>
          <a:prstGeom prst="rect">
            <a:avLst/>
          </a:prstGeom>
        </p:spPr>
      </p:pic>
      <p:sp>
        <p:nvSpPr>
          <p:cNvPr id="9" name="文本框 1">
            <a:extLst>
              <a:ext uri="{FF2B5EF4-FFF2-40B4-BE49-F238E27FC236}">
                <a16:creationId xmlns:a16="http://schemas.microsoft.com/office/drawing/2014/main" id="{30C0BBCA-F841-49E1-AFD5-77F22C2738CE}"/>
              </a:ext>
            </a:extLst>
          </p:cNvPr>
          <p:cNvSpPr txBox="1"/>
          <p:nvPr/>
        </p:nvSpPr>
        <p:spPr>
          <a:xfrm>
            <a:off x="1191607" y="3717183"/>
            <a:ext cx="20717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37.388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0.8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779265647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CC9C705-4F75-4E61-BBE2-B6480DA783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8FD18C1-2E01-422D-9D25-587AE216CFD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65DC59B9-BD96-4AD3-8F1B-2B84CDA807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im Change 10dB</a:t>
            </a:r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709E476B-FBCF-458F-BEBC-CAA32C82E6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370283"/>
            <a:ext cx="3733797" cy="2333623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59369BBD-058E-4142-B2F2-CB0B1E74DA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597057"/>
            <a:ext cx="10306050" cy="144780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D8D4ABCD-B2C7-485A-BAEE-5326091F82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36573" y="1481834"/>
            <a:ext cx="3816827" cy="2110520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20D56A0B-0F04-49AB-8410-B92FB2F5EA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09001" y="1482318"/>
            <a:ext cx="4002332" cy="2221589"/>
          </a:xfrm>
          <a:prstGeom prst="rect">
            <a:avLst/>
          </a:prstGeom>
        </p:spPr>
      </p:pic>
      <p:sp>
        <p:nvSpPr>
          <p:cNvPr id="9" name="文本框 1">
            <a:extLst>
              <a:ext uri="{FF2B5EF4-FFF2-40B4-BE49-F238E27FC236}">
                <a16:creationId xmlns:a16="http://schemas.microsoft.com/office/drawing/2014/main" id="{30C0BBCA-F841-49E1-AFD5-77F22C2738CE}"/>
              </a:ext>
            </a:extLst>
          </p:cNvPr>
          <p:cNvSpPr txBox="1"/>
          <p:nvPr/>
        </p:nvSpPr>
        <p:spPr>
          <a:xfrm>
            <a:off x="1147646" y="4011982"/>
            <a:ext cx="22415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37.69dB</a:t>
            </a:r>
          </a:p>
          <a:p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1.316dB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763724132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7325F5D-344E-4D1E-AA10-4F645E6FD1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9CEF397-6F25-4BB1-A3D0-E6180BEA1C7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3B64F0CC-A75E-4EA6-85B0-81E2EC8F52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C4D26C58-8AD2-4ADB-90EB-66FFF6486D57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370282"/>
            <a:ext cx="8073623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786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5B736E7-1358-4021-9B3D-4E2B2A7585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205C1D1-A989-4C89-9141-5911CC5E22A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861A19B1-EDAC-4BF6-A3A4-934F684B1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im_TOI</a:t>
            </a:r>
            <a:r>
              <a:rPr lang="en-US" altLang="zh-CN" dirty="0"/>
              <a:t>=20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DDE56119-0CC1-4420-8FD9-E62C188D02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2" y="1370283"/>
            <a:ext cx="3538905" cy="2211816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E2962E13-5BA0-46D6-BBEB-8FE41D2B7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343400"/>
            <a:ext cx="10191750" cy="182880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4CC17475-B25E-4E8F-9534-B028C62116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9547" y="1501836"/>
            <a:ext cx="3868435" cy="192581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C1E258C3-C544-44AE-B25A-06692AF80C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53400" y="1513929"/>
            <a:ext cx="3899014" cy="1925815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965E50FF-0FE7-428E-B967-329D5B4DEE52}"/>
              </a:ext>
            </a:extLst>
          </p:cNvPr>
          <p:cNvSpPr txBox="1"/>
          <p:nvPr/>
        </p:nvSpPr>
        <p:spPr>
          <a:xfrm>
            <a:off x="507923" y="3747026"/>
            <a:ext cx="194166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EVM:-37.974dB</a:t>
            </a:r>
          </a:p>
          <a:p>
            <a:pPr algn="l"/>
            <a:r>
              <a:rPr lang="en-US" altLang="zh-CN" dirty="0" err="1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IQoffset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:-47.265dB</a:t>
            </a:r>
            <a:endParaRPr lang="zh-CN" altLang="en-US" dirty="0" err="1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511936612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>
            <a:extLst>
              <a:ext uri="{FF2B5EF4-FFF2-40B4-BE49-F238E27FC236}">
                <a16:creationId xmlns:a16="http://schemas.microsoft.com/office/drawing/2014/main" id="{BDA4D296-1687-4A1C-9FF8-D21C5BEBD42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44780" y="1641373"/>
            <a:ext cx="5951220" cy="2842395"/>
          </a:xfrm>
        </p:spPr>
        <p:txBody>
          <a:bodyPr/>
          <a:lstStyle/>
          <a:p>
            <a:r>
              <a:rPr lang="zh-CN" altLang="en-US" dirty="0"/>
              <a:t>仪表参数：</a:t>
            </a:r>
            <a:endParaRPr lang="en-US" altLang="zh-CN" dirty="0"/>
          </a:p>
          <a:p>
            <a:r>
              <a:rPr lang="en-US" altLang="zh-CN" dirty="0"/>
              <a:t>Density=-158.7</a:t>
            </a:r>
          </a:p>
          <a:p>
            <a:r>
              <a:rPr lang="en-US" altLang="zh-CN" dirty="0" err="1"/>
              <a:t>IQoffset</a:t>
            </a:r>
            <a:r>
              <a:rPr lang="en-US" altLang="zh-CN" dirty="0"/>
              <a:t>=0.0045</a:t>
            </a:r>
          </a:p>
          <a:p>
            <a:r>
              <a:rPr lang="en-US" altLang="zh-CN" dirty="0"/>
              <a:t>Gain </a:t>
            </a:r>
            <a:r>
              <a:rPr lang="en-US" altLang="zh-CN" dirty="0" err="1"/>
              <a:t>Imb</a:t>
            </a:r>
            <a:r>
              <a:rPr lang="en-US" altLang="zh-CN" dirty="0"/>
              <a:t>=0.002</a:t>
            </a:r>
          </a:p>
          <a:p>
            <a:r>
              <a:rPr lang="en-US" altLang="zh-CN" dirty="0" err="1"/>
              <a:t>PhaseNoise</a:t>
            </a:r>
            <a:r>
              <a:rPr lang="en-US" altLang="zh-CN" dirty="0"/>
              <a:t>=[100 -98.57 1e3 -107.56 1e4 -121.67]</a:t>
            </a:r>
          </a:p>
          <a:p>
            <a:r>
              <a:rPr lang="en-US" altLang="zh-CN" dirty="0" err="1"/>
              <a:t>DAC_Nbits</a:t>
            </a:r>
            <a:r>
              <a:rPr lang="en-US" altLang="zh-CN" dirty="0"/>
              <a:t>=14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6EC7CE0-7C89-418B-8902-FF3B4D6833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795DE60-5D92-4B63-883A-9DD23F2AD2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ional Title of the Present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B4B3BE29-45D3-445D-9967-13B9752CB4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B2 Para and Imp Para</a:t>
            </a:r>
            <a:endParaRPr lang="zh-CN" altLang="en-US" dirty="0"/>
          </a:p>
        </p:txBody>
      </p:sp>
      <p:sp>
        <p:nvSpPr>
          <p:cNvPr id="7" name="内容占位符 1">
            <a:extLst>
              <a:ext uri="{FF2B5EF4-FFF2-40B4-BE49-F238E27FC236}">
                <a16:creationId xmlns:a16="http://schemas.microsoft.com/office/drawing/2014/main" id="{7671FC0E-151A-422E-B670-E2E7AB3C4D86}"/>
              </a:ext>
            </a:extLst>
          </p:cNvPr>
          <p:cNvSpPr txBox="1">
            <a:spLocks/>
          </p:cNvSpPr>
          <p:nvPr/>
        </p:nvSpPr>
        <p:spPr>
          <a:xfrm>
            <a:off x="6240780" y="1641372"/>
            <a:ext cx="5951220" cy="29226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b="1" kern="1200" cap="all" spc="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8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200" b="1" kern="1200" cap="all" spc="6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16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36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4800" b="1" i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Imp 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测试参数：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Density=-158.7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IQoffset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=0.045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Gain </a:t>
            </a:r>
            <a:r>
              <a:rPr kumimoji="0" lang="en-US" altLang="zh-CN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Imb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=0.02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PhaseNoise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=[100 -88.57 1e3 -97.56 1e4 -111.67]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DAC_Nbits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=12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9002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TOIout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=20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D652C0F7-B395-49AD-848D-3A91C3AA21D6}"/>
              </a:ext>
            </a:extLst>
          </p:cNvPr>
          <p:cNvSpPr txBox="1"/>
          <p:nvPr/>
        </p:nvSpPr>
        <p:spPr>
          <a:xfrm>
            <a:off x="3753853" y="5031961"/>
            <a:ext cx="315227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zh-CN" sz="2000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</a:rPr>
              <a:t>Power Out=10dB</a:t>
            </a:r>
            <a:endParaRPr lang="zh-CN" altLang="en-US" sz="2000" dirty="0" err="1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91691390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EB7E18F-C147-4427-898E-1DD35F5B35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464969A-7B51-4CC4-BC46-1FAFB93614B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BC1C1F88-AEDB-4A00-B568-5B76484BB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TA Test</a:t>
            </a:r>
            <a:endParaRPr lang="zh-CN" altLang="en-US" dirty="0"/>
          </a:p>
        </p:txBody>
      </p:sp>
      <p:graphicFrame>
        <p:nvGraphicFramePr>
          <p:cNvPr id="6" name="内容占位符 5">
            <a:extLst>
              <a:ext uri="{FF2B5EF4-FFF2-40B4-BE49-F238E27FC236}">
                <a16:creationId xmlns:a16="http://schemas.microsoft.com/office/drawing/2014/main" id="{03FE049E-8CFF-4EB9-BBC7-D197CA8A1384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623820871"/>
              </p:ext>
            </p:extLst>
          </p:nvPr>
        </p:nvGraphicFramePr>
        <p:xfrm>
          <a:off x="369277" y="2187876"/>
          <a:ext cx="11512000" cy="23536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2615">
                  <a:extLst>
                    <a:ext uri="{9D8B030D-6E8A-4147-A177-3AD203B41FA5}">
                      <a16:colId xmlns:a16="http://schemas.microsoft.com/office/drawing/2014/main" val="330016611"/>
                    </a:ext>
                  </a:extLst>
                </a:gridCol>
                <a:gridCol w="1063870">
                  <a:extLst>
                    <a:ext uri="{9D8B030D-6E8A-4147-A177-3AD203B41FA5}">
                      <a16:colId xmlns:a16="http://schemas.microsoft.com/office/drawing/2014/main" val="16487665"/>
                    </a:ext>
                  </a:extLst>
                </a:gridCol>
                <a:gridCol w="1046284">
                  <a:extLst>
                    <a:ext uri="{9D8B030D-6E8A-4147-A177-3AD203B41FA5}">
                      <a16:colId xmlns:a16="http://schemas.microsoft.com/office/drawing/2014/main" val="550622899"/>
                    </a:ext>
                  </a:extLst>
                </a:gridCol>
                <a:gridCol w="896539">
                  <a:extLst>
                    <a:ext uri="{9D8B030D-6E8A-4147-A177-3AD203B41FA5}">
                      <a16:colId xmlns:a16="http://schemas.microsoft.com/office/drawing/2014/main" val="2798564048"/>
                    </a:ext>
                  </a:extLst>
                </a:gridCol>
                <a:gridCol w="1153782">
                  <a:extLst>
                    <a:ext uri="{9D8B030D-6E8A-4147-A177-3AD203B41FA5}">
                      <a16:colId xmlns:a16="http://schemas.microsoft.com/office/drawing/2014/main" val="768901539"/>
                    </a:ext>
                  </a:extLst>
                </a:gridCol>
                <a:gridCol w="1153782">
                  <a:extLst>
                    <a:ext uri="{9D8B030D-6E8A-4147-A177-3AD203B41FA5}">
                      <a16:colId xmlns:a16="http://schemas.microsoft.com/office/drawing/2014/main" val="2886613245"/>
                    </a:ext>
                  </a:extLst>
                </a:gridCol>
                <a:gridCol w="1153782">
                  <a:extLst>
                    <a:ext uri="{9D8B030D-6E8A-4147-A177-3AD203B41FA5}">
                      <a16:colId xmlns:a16="http://schemas.microsoft.com/office/drawing/2014/main" val="4143579370"/>
                    </a:ext>
                  </a:extLst>
                </a:gridCol>
                <a:gridCol w="1153782">
                  <a:extLst>
                    <a:ext uri="{9D8B030D-6E8A-4147-A177-3AD203B41FA5}">
                      <a16:colId xmlns:a16="http://schemas.microsoft.com/office/drawing/2014/main" val="845819647"/>
                    </a:ext>
                  </a:extLst>
                </a:gridCol>
                <a:gridCol w="1153782">
                  <a:extLst>
                    <a:ext uri="{9D8B030D-6E8A-4147-A177-3AD203B41FA5}">
                      <a16:colId xmlns:a16="http://schemas.microsoft.com/office/drawing/2014/main" val="3398723242"/>
                    </a:ext>
                  </a:extLst>
                </a:gridCol>
                <a:gridCol w="1153782">
                  <a:extLst>
                    <a:ext uri="{9D8B030D-6E8A-4147-A177-3AD203B41FA5}">
                      <a16:colId xmlns:a16="http://schemas.microsoft.com/office/drawing/2014/main" val="669333517"/>
                    </a:ext>
                  </a:extLst>
                </a:gridCol>
              </a:tblGrid>
              <a:tr h="571175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n-US" altLang="zh-CN" dirty="0"/>
                        <a:t>EVM(dB)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n-US" altLang="zh-CN" dirty="0"/>
                        <a:t>1BW_Upper_ACLR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1BW_Lower_ACLR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8383173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OTA</a:t>
                      </a:r>
                    </a:p>
                    <a:p>
                      <a:r>
                        <a:rPr lang="en-US" altLang="zh-CN" dirty="0"/>
                        <a:t>Tes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VX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Si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Delta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8967347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Ideal Signal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2.2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42.2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0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44.4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43.09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1.36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44.8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43.10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1.736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0939081"/>
                  </a:ext>
                </a:extLst>
              </a:tr>
              <a:tr h="571175">
                <a:tc>
                  <a:txBody>
                    <a:bodyPr/>
                    <a:lstStyle/>
                    <a:p>
                      <a:r>
                        <a:rPr lang="en-US" altLang="zh-CN" dirty="0"/>
                        <a:t>Imp Signal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34.40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-34.92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51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41.01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40.71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/>
                        <a:t>0.30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40.82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40.74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079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21242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1265003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A1C5863-A72E-4F47-9C96-E6D45303C4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FFCD724-254A-4571-904C-198EA61474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ional Title of the Present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CC8EAFB5-F077-4D49-AB43-7A3660858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deal NR Tx 100M Chamber Test</a:t>
            </a:r>
            <a:endParaRPr lang="zh-CN" altLang="en-US" dirty="0"/>
          </a:p>
        </p:txBody>
      </p:sp>
      <p:pic>
        <p:nvPicPr>
          <p:cNvPr id="10" name="内容占位符 9">
            <a:extLst>
              <a:ext uri="{FF2B5EF4-FFF2-40B4-BE49-F238E27FC236}">
                <a16:creationId xmlns:a16="http://schemas.microsoft.com/office/drawing/2014/main" id="{965532C4-C62F-4BF0-B5AB-BC0D8CFE5365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 rotWithShape="1">
          <a:blip r:embed="rId2"/>
          <a:srcRect l="9488" b="8021"/>
          <a:stretch/>
        </p:blipFill>
        <p:spPr>
          <a:xfrm>
            <a:off x="449201" y="1370281"/>
            <a:ext cx="3589399" cy="206457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F8C976C-5209-4C46-9D93-3C028AF7680E}"/>
              </a:ext>
            </a:extLst>
          </p:cNvPr>
          <p:cNvSpPr txBox="1"/>
          <p:nvPr/>
        </p:nvSpPr>
        <p:spPr>
          <a:xfrm>
            <a:off x="1090487" y="3490623"/>
            <a:ext cx="2563223" cy="553998"/>
          </a:xfrm>
          <a:prstGeom prst="rect">
            <a:avLst/>
          </a:prstGeom>
          <a:solidFill>
            <a:srgbClr val="FFC000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EVM=-42.2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IQ offset=-46.947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D71FC172-CA60-409F-8377-980C14AEBB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01" y="4506644"/>
            <a:ext cx="6867525" cy="981075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8E8BFAB6-B009-4C65-92F4-6DA829D8D4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76096" y="1398757"/>
            <a:ext cx="3267416" cy="265816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81762BB4-73A6-48A3-A916-648B74C938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58729" y="1523063"/>
            <a:ext cx="3201776" cy="2611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374407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A05F857-E84B-4ACB-85FC-752FDA1E5E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84E68EFF-6EC3-490B-A5DA-EC0A4FE7588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ional Title of the Present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ADA2E3F1-3B7F-4BBD-B5BA-F0978533FF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TA Sim Tx Ideal NR 100M</a:t>
            </a:r>
            <a:endParaRPr lang="zh-CN" altLang="en-US" dirty="0"/>
          </a:p>
        </p:txBody>
      </p:sp>
      <p:pic>
        <p:nvPicPr>
          <p:cNvPr id="9" name="内容占位符 8">
            <a:extLst>
              <a:ext uri="{FF2B5EF4-FFF2-40B4-BE49-F238E27FC236}">
                <a16:creationId xmlns:a16="http://schemas.microsoft.com/office/drawing/2014/main" id="{11C701B1-8162-45F0-8127-31022D1B7D45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55929" y="1353764"/>
            <a:ext cx="3354071" cy="2096295"/>
          </a:xfrm>
          <a:prstGeom prst="rect">
            <a:avLst/>
          </a:prstGeom>
        </p:spPr>
      </p:pic>
      <p:sp>
        <p:nvSpPr>
          <p:cNvPr id="13" name="TextBox 5">
            <a:extLst>
              <a:ext uri="{FF2B5EF4-FFF2-40B4-BE49-F238E27FC236}">
                <a16:creationId xmlns:a16="http://schemas.microsoft.com/office/drawing/2014/main" id="{2F8AA3F8-DCAF-4CC5-8EA5-37E13E0303DF}"/>
              </a:ext>
            </a:extLst>
          </p:cNvPr>
          <p:cNvSpPr txBox="1"/>
          <p:nvPr/>
        </p:nvSpPr>
        <p:spPr>
          <a:xfrm>
            <a:off x="1054249" y="3546327"/>
            <a:ext cx="2563223" cy="553998"/>
          </a:xfrm>
          <a:prstGeom prst="rect">
            <a:avLst/>
          </a:prstGeom>
          <a:solidFill>
            <a:srgbClr val="FFC000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EVM=-42. 2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IQ offset=-47.115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CFB4D044-0880-4E7A-B15A-F2AB6CDE57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929" y="4522930"/>
            <a:ext cx="10848975" cy="1581150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209748A8-C282-462F-882F-3D072F5A36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8600" y="1352882"/>
            <a:ext cx="3204411" cy="2937377"/>
          </a:xfrm>
          <a:prstGeom prst="rect">
            <a:avLst/>
          </a:prstGeom>
        </p:spPr>
      </p:pic>
      <p:pic>
        <p:nvPicPr>
          <p:cNvPr id="11" name="内容占位符 5">
            <a:extLst>
              <a:ext uri="{FF2B5EF4-FFF2-40B4-BE49-F238E27FC236}">
                <a16:creationId xmlns:a16="http://schemas.microsoft.com/office/drawing/2014/main" id="{140716B2-714D-493A-BE0B-BB8B15CBE3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71611" y="1645708"/>
            <a:ext cx="3760807" cy="209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022094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FB238D9A-FA9A-4C8E-8ED3-60904F216E85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2" y="1459107"/>
            <a:ext cx="5462314" cy="4452727"/>
          </a:xfrm>
          <a:prstGeom prst="rect">
            <a:avLst/>
          </a:prstGeom>
        </p:spPr>
      </p:pic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B40116C-42E7-481E-AC75-A934F68D6E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A928B34-96B5-41DD-9F07-2034745F2B9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ional Title of the Present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61C8D82F-A0EF-4DD1-9FF2-3BE05697F7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72859903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08B65C2-1E69-4970-ACD3-6AD8A1A162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F15887A-6B43-4CF7-9D44-0403F35D089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ional Title of the Present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1DF622B-254B-4909-9406-B00D55641A1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8485"/>
          <a:stretch/>
        </p:blipFill>
        <p:spPr>
          <a:xfrm>
            <a:off x="449201" y="1509163"/>
            <a:ext cx="3208399" cy="2019007"/>
          </a:xfrm>
          <a:prstGeom prst="rect">
            <a:avLst/>
          </a:prstGeom>
        </p:spPr>
      </p:pic>
      <p:sp>
        <p:nvSpPr>
          <p:cNvPr id="5" name="标题 4">
            <a:extLst>
              <a:ext uri="{FF2B5EF4-FFF2-40B4-BE49-F238E27FC236}">
                <a16:creationId xmlns:a16="http://schemas.microsoft.com/office/drawing/2014/main" id="{F837ADEE-9378-4102-90E5-C9D0C4F35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mp NR 100M Chamber Test</a:t>
            </a:r>
            <a:endParaRPr lang="zh-CN" altLang="en-US" dirty="0"/>
          </a:p>
        </p:txBody>
      </p:sp>
      <p:sp>
        <p:nvSpPr>
          <p:cNvPr id="8" name="TextBox 5">
            <a:extLst>
              <a:ext uri="{FF2B5EF4-FFF2-40B4-BE49-F238E27FC236}">
                <a16:creationId xmlns:a16="http://schemas.microsoft.com/office/drawing/2014/main" id="{D132DF07-5392-42EB-B64B-E97CBBB71417}"/>
              </a:ext>
            </a:extLst>
          </p:cNvPr>
          <p:cNvSpPr txBox="1"/>
          <p:nvPr/>
        </p:nvSpPr>
        <p:spPr>
          <a:xfrm>
            <a:off x="863523" y="3528170"/>
            <a:ext cx="2563223" cy="553998"/>
          </a:xfrm>
          <a:prstGeom prst="rect">
            <a:avLst/>
          </a:prstGeom>
          <a:solidFill>
            <a:srgbClr val="FFC000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EVM=-34.40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IQ offset=-35.376</a:t>
            </a:r>
          </a:p>
        </p:txBody>
      </p:sp>
      <p:pic>
        <p:nvPicPr>
          <p:cNvPr id="10" name="内容占位符 5">
            <a:extLst>
              <a:ext uri="{FF2B5EF4-FFF2-40B4-BE49-F238E27FC236}">
                <a16:creationId xmlns:a16="http://schemas.microsoft.com/office/drawing/2014/main" id="{F8E9D3BC-2DB2-480D-A271-CBDE8EBC508E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/>
          <a:stretch>
            <a:fillRect/>
          </a:stretch>
        </p:blipFill>
        <p:spPr>
          <a:xfrm>
            <a:off x="449201" y="4872587"/>
            <a:ext cx="6467475" cy="952500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9FF1A41F-F5A1-4DCD-B84F-6A398DE13F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8600" y="1509163"/>
            <a:ext cx="3452813" cy="2790825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37A7E048-B3CE-435C-A4EE-AE262A66C9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91353" y="1582839"/>
            <a:ext cx="3338869" cy="2717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905982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DF7E8CC8-85A0-499E-B77C-7B0E1A40151D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55929" y="1459107"/>
            <a:ext cx="3097397" cy="1935873"/>
          </a:xfrm>
          <a:prstGeom prst="rect">
            <a:avLst/>
          </a:prstGeom>
        </p:spPr>
      </p:pic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6B4F2F5-08F3-490A-B401-39733F8E90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FDE00D8-FF1D-4768-8BEB-39B1EE7B10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ional Title of the Present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B3A6B810-92F1-4978-97FA-6376EFB91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TA Sim Imp Tx 100M NR</a:t>
            </a:r>
            <a:endParaRPr lang="zh-CN" altLang="en-US" dirty="0"/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28C01D91-95DE-4302-B002-B1D0F7243F6E}"/>
              </a:ext>
            </a:extLst>
          </p:cNvPr>
          <p:cNvSpPr txBox="1"/>
          <p:nvPr/>
        </p:nvSpPr>
        <p:spPr>
          <a:xfrm>
            <a:off x="844001" y="3463021"/>
            <a:ext cx="2563223" cy="553998"/>
          </a:xfrm>
          <a:prstGeom prst="rect">
            <a:avLst/>
          </a:prstGeom>
          <a:solidFill>
            <a:srgbClr val="FFC000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EVM=-34.9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IQ offset=-35.443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20D7FF96-3D79-4491-A6DB-C6E58288A3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5190" y="4234173"/>
            <a:ext cx="7854290" cy="1859048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2AE96E75-6696-4AF0-AC03-4C973166E9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55549" y="1395341"/>
            <a:ext cx="3386936" cy="2758000"/>
          </a:xfrm>
          <a:prstGeom prst="rect">
            <a:avLst/>
          </a:prstGeom>
        </p:spPr>
      </p:pic>
      <p:pic>
        <p:nvPicPr>
          <p:cNvPr id="11" name="内容占位符 5">
            <a:extLst>
              <a:ext uri="{FF2B5EF4-FFF2-40B4-BE49-F238E27FC236}">
                <a16:creationId xmlns:a16="http://schemas.microsoft.com/office/drawing/2014/main" id="{A48EB4F0-C95F-4EC6-BB92-8DF438FCFD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55328" y="1668585"/>
            <a:ext cx="4162904" cy="2296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189559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62F9D0B-AFB9-4ED9-BED2-ACB614F691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66354D3-EE36-4961-B7CB-818DBEB9D3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ional Title of the Present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6A974E8A-DC29-4F54-B88B-6157BA5D28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2C219956-F349-4304-9FC8-DBB051CF3C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01" y="1463921"/>
            <a:ext cx="6103999" cy="4983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164530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19B27D27-F88C-4CAA-946B-2D5C72E3D6BA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556718"/>
            <a:ext cx="6891166" cy="4451289"/>
          </a:xfrm>
          <a:prstGeom prst="rect">
            <a:avLst/>
          </a:prstGeom>
        </p:spPr>
      </p:pic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BB36263-A26C-4916-A958-399A2D5B58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DB2353E-B30A-4D09-8C4D-BCE0AB074AF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D6D2CD66-7F65-4100-9230-B2AD2C5D1F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B2 S21 Para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925846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6AF4A5F-B407-4D1C-989E-A8A8E5C52E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3CD17EA-D8D2-4E4C-A448-D5903969860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064AF1E1-AC0F-496D-B025-C09B2E2ED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XT SEM VS Sim SEM </a:t>
            </a:r>
            <a:endParaRPr lang="zh-CN" altLang="en-US" dirty="0"/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01EA0608-3314-49B1-B746-752E3FB2DE5C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49201" y="1519232"/>
            <a:ext cx="9035243" cy="447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582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EE4P_STYLE_ID" val="39dcc26a-7131-49f4-a9eb-1c0521500c03"/>
</p:tagLst>
</file>

<file path=ppt/theme/theme1.xml><?xml version="1.0" encoding="utf-8"?>
<a:theme xmlns:a="http://schemas.openxmlformats.org/drawingml/2006/main" name="2017 Keysight Macro LIGHT">
  <a:themeElements>
    <a:clrScheme name="Keysight Light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E90029"/>
      </a:hlink>
      <a:folHlink>
        <a:srgbClr val="74001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err="1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eysight_Widescreen_02232018" id="{C6BC4F26-D47C-4FE7-9487-4903B1E8CFA3}" vid="{E6D5D821-B514-4AD8-AB7C-2A1F6114B2A1}"/>
    </a:ext>
  </a:extLst>
</a:theme>
</file>

<file path=ppt/theme/theme2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eysight_Widescreen_02232018</Template>
  <TotalTime>47915</TotalTime>
  <Words>2724</Words>
  <Application>Microsoft Office PowerPoint</Application>
  <PresentationFormat>宽屏</PresentationFormat>
  <Paragraphs>756</Paragraphs>
  <Slides>88</Slides>
  <Notes>1</Notes>
  <HiddenSlides>0</HiddenSlides>
  <MMClips>0</MMClips>
  <ScaleCrop>false</ScaleCrop>
  <HeadingPairs>
    <vt:vector size="6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88</vt:i4>
      </vt:variant>
    </vt:vector>
  </HeadingPairs>
  <TitlesOfParts>
    <vt:vector size="92" baseType="lpstr">
      <vt:lpstr>黑体</vt:lpstr>
      <vt:lpstr>Arial</vt:lpstr>
      <vt:lpstr>Franklin Gothic Book</vt:lpstr>
      <vt:lpstr>2017 Keysight Macro LIGHT</vt:lpstr>
      <vt:lpstr>VXT2 Evaluation</vt:lpstr>
      <vt:lpstr>PA_TOI Test</vt:lpstr>
      <vt:lpstr>PA_TOI Test Compare</vt:lpstr>
      <vt:lpstr>VXT_TOI=30</vt:lpstr>
      <vt:lpstr>Sim_TOI=30</vt:lpstr>
      <vt:lpstr>VXT SEM VS Sim SEM </vt:lpstr>
      <vt:lpstr>VXT_TOI=20</vt:lpstr>
      <vt:lpstr>Sim_TOI=20</vt:lpstr>
      <vt:lpstr>VXT SEM VS Sim SEM </vt:lpstr>
      <vt:lpstr>VXT_TOI=15</vt:lpstr>
      <vt:lpstr>Sim_TOI=15</vt:lpstr>
      <vt:lpstr>VXT SEM VS Sim SEM </vt:lpstr>
      <vt:lpstr>Phase Noise Test</vt:lpstr>
      <vt:lpstr>Phase Noise Test</vt:lpstr>
      <vt:lpstr>Phase Noise Test Compare</vt:lpstr>
      <vt:lpstr>VXT_PhaseNoise =[100, -87.133, 1000, -96.072, 1e5, -108.607]</vt:lpstr>
      <vt:lpstr>Sim_PhaseNoise =[100, -87.133, 1000, -96.072, 1e5, -108.607]</vt:lpstr>
      <vt:lpstr>VXT SEM VS Sim SEM </vt:lpstr>
      <vt:lpstr>VXT_PhaseNoise =[100, -82.133, 1000, -91.072, 1e5, -103.607]</vt:lpstr>
      <vt:lpstr>Sim_PhaseNoise =[100, -82.133, 1000, -91.072, 1e5, -103.607]</vt:lpstr>
      <vt:lpstr>VXT SEM VS Sim SEM </vt:lpstr>
      <vt:lpstr>VXT_PhaseNoise =[100, -62.133, 1000, -71.072, 1e4, -83.607]</vt:lpstr>
      <vt:lpstr>Sim_PhaseNoise =[100, -62.133, 1000, -71.072, 1e4, -83.607]</vt:lpstr>
      <vt:lpstr>VXT SEM VS Sim SEM </vt:lpstr>
      <vt:lpstr>VXT_PhaseNoise = [100, -57.133, 1000, -66.072, 1e4, -78.607]</vt:lpstr>
      <vt:lpstr>Sim_PhaseNoise = [100, -57.133, 1000, -66.072, 1e4, -78.607]</vt:lpstr>
      <vt:lpstr>VXT SEM VS Sim SEM </vt:lpstr>
      <vt:lpstr>DAC_Nbits Test</vt:lpstr>
      <vt:lpstr>DAC_Nbits Test Compare</vt:lpstr>
      <vt:lpstr>VXT_DAC_Nbits=14</vt:lpstr>
      <vt:lpstr>Sim_ DAC_Nbits=14</vt:lpstr>
      <vt:lpstr>VXT SEM VS Sim SEM </vt:lpstr>
      <vt:lpstr>VXT_DAC_Nbits=12</vt:lpstr>
      <vt:lpstr>Sim DAC_Nbits=12</vt:lpstr>
      <vt:lpstr>VXT SEM VS Sim SEM </vt:lpstr>
      <vt:lpstr>VXT_DAC_Nbits=10</vt:lpstr>
      <vt:lpstr>Sim_DAC_Nbits=10</vt:lpstr>
      <vt:lpstr>VXT SEM VS Sim SEM </vt:lpstr>
      <vt:lpstr>Gain Imbalance Test</vt:lpstr>
      <vt:lpstr>Gain Imbalance Test</vt:lpstr>
      <vt:lpstr>Gain Imbalance Test Compare</vt:lpstr>
      <vt:lpstr>VXT_GainImbalance=0.02</vt:lpstr>
      <vt:lpstr>Sim_GainImbalance=0.02</vt:lpstr>
      <vt:lpstr>VXT SEM VS Sim SEM </vt:lpstr>
      <vt:lpstr>VXT_GainImblance=0.03</vt:lpstr>
      <vt:lpstr>Sim_GainImblance=0.03</vt:lpstr>
      <vt:lpstr>VXT SEM VS Sim SEM </vt:lpstr>
      <vt:lpstr>VXT_GainImbalance=0.1</vt:lpstr>
      <vt:lpstr>Sim_GainImbalance=0.1</vt:lpstr>
      <vt:lpstr>VXT SEM VS Sim SEM </vt:lpstr>
      <vt:lpstr>VXT_GainImbalance=0.3</vt:lpstr>
      <vt:lpstr>Sim_GainImbalance=0.3</vt:lpstr>
      <vt:lpstr>VXT SEM VS Sim SEM </vt:lpstr>
      <vt:lpstr>IQoffset Test</vt:lpstr>
      <vt:lpstr>IQoffset Test</vt:lpstr>
      <vt:lpstr>IQoffset Test Compare</vt:lpstr>
      <vt:lpstr>VXT_IQoffset=0.014</vt:lpstr>
      <vt:lpstr>Sim_IQoffset= 0.014</vt:lpstr>
      <vt:lpstr>VXT SEM VS Sim SEM </vt:lpstr>
      <vt:lpstr>VXT_IQoffset=0.025</vt:lpstr>
      <vt:lpstr>Sim_IQoffset=0.025</vt:lpstr>
      <vt:lpstr>VXT SEM VS Sim SEM </vt:lpstr>
      <vt:lpstr>VXT_IQoffset=0.2</vt:lpstr>
      <vt:lpstr>Sim_IQoffset=0.2</vt:lpstr>
      <vt:lpstr>VXT SEM VS Sim SEM </vt:lpstr>
      <vt:lpstr>VXT_IQoffset=0.4</vt:lpstr>
      <vt:lpstr>Sim_IQoffset=0.4</vt:lpstr>
      <vt:lpstr>VXT SEM VS Sim SEM </vt:lpstr>
      <vt:lpstr>Combine Test</vt:lpstr>
      <vt:lpstr>Combine Test Compare</vt:lpstr>
      <vt:lpstr>VXT Origin</vt:lpstr>
      <vt:lpstr>Sim Origin</vt:lpstr>
      <vt:lpstr>VXT SEM VS Sim SEM </vt:lpstr>
      <vt:lpstr>VXT Change 5dB</vt:lpstr>
      <vt:lpstr>Sim Change 5dB</vt:lpstr>
      <vt:lpstr>VXT SEM VS Sim SEM </vt:lpstr>
      <vt:lpstr>VXT Change 10dB</vt:lpstr>
      <vt:lpstr>Sim Change 10dB</vt:lpstr>
      <vt:lpstr>VXT SEM VS Sim SEM </vt:lpstr>
      <vt:lpstr>B2 Para and Imp Para</vt:lpstr>
      <vt:lpstr>OTA Test</vt:lpstr>
      <vt:lpstr>Ideal NR Tx 100M Chamber Test</vt:lpstr>
      <vt:lpstr>OTA Sim Tx Ideal NR 100M</vt:lpstr>
      <vt:lpstr>VXT SEM VS Sim SEM </vt:lpstr>
      <vt:lpstr>Imp NR 100M Chamber Test</vt:lpstr>
      <vt:lpstr>OTA Sim Imp Tx 100M NR</vt:lpstr>
      <vt:lpstr>VXT SEM VS Sim SEM </vt:lpstr>
      <vt:lpstr>B2 S21 Para</vt:lpstr>
    </vt:vector>
  </TitlesOfParts>
  <Company>Keysight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x Imp Test</dc:title>
  <dc:creator>Leibo Guo</dc:creator>
  <cp:lastModifiedBy>Leibo Guo</cp:lastModifiedBy>
  <cp:revision>310</cp:revision>
  <dcterms:created xsi:type="dcterms:W3CDTF">2018-09-20T02:08:36Z</dcterms:created>
  <dcterms:modified xsi:type="dcterms:W3CDTF">2019-03-21T00:46:19Z</dcterms:modified>
</cp:coreProperties>
</file>